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dat" ContentType="text/plain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docProps/core.xml" Id="rId3" /><Relationship Type="http://schemas.openxmlformats.org/package/2006/relationships/metadata/thumbnail" Target="docProps/thumbnail.jpeg" Id="rId2" /><Relationship Type="http://schemas.openxmlformats.org/officeDocument/2006/relationships/officeDocument" Target="ppt/presentation.xml" Id="rId1" /><Relationship Type="http://schemas.openxmlformats.org/officeDocument/2006/relationships/custom-properties" Target="docProps/custom.xml" Id="rId5" /><Relationship Type="http://schemas.openxmlformats.org/officeDocument/2006/relationships/extended-properties" Target="docProps/app.xml" Id="rId4" /><Relationship Type="http://schemas.microsoft.com/office/2006/relationships/txt" Target="/udata/data.dat" Id="R44414d5380ac4828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90" r:id="rId3"/>
    <p:sldId id="292" r:id="rId4"/>
    <p:sldId id="293" r:id="rId5"/>
    <p:sldId id="294" r:id="rId6"/>
    <p:sldId id="295" r:id="rId7"/>
    <p:sldId id="296" r:id="rId8"/>
    <p:sldId id="291" r:id="rId9"/>
    <p:sldId id="297" r:id="rId10"/>
    <p:sldId id="298" r:id="rId11"/>
  </p:sldIdLst>
  <p:sldSz cx="9144000" cy="5143500" type="screen16x9"/>
  <p:notesSz cx="6858000" cy="9144000"/>
  <p:custDataLst>
    <p:tags r:id="rId14"/>
  </p:custDataLst>
  <p:defaultTextStyle>
    <a:defPPr>
      <a:defRPr lang="zh-CN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4971"/>
    <a:srgbClr val="1B4367"/>
    <a:srgbClr val="1D4865"/>
    <a:srgbClr val="51B3CD"/>
    <a:srgbClr val="83C2DB"/>
    <a:srgbClr val="2980B4"/>
    <a:srgbClr val="4287C6"/>
    <a:srgbClr val="2780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505E3EF-67EA-436B-97B2-0124C06EBD24}" styleName="中度样式 4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41" autoAdjust="0"/>
    <p:restoredTop sz="94660"/>
  </p:normalViewPr>
  <p:slideViewPr>
    <p:cSldViewPr snapToGrid="0">
      <p:cViewPr varScale="1">
        <p:scale>
          <a:sx n="98" d="100"/>
          <a:sy n="98" d="100"/>
        </p:scale>
        <p:origin x="582" y="8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86" d="100"/>
        <a:sy n="18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24037;&#20316;&#25991;&#26723;\&#24066;&#22330;\&#20998;&#26512;\RFM&#24213;&#31295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24037;&#20316;&#25991;&#26723;\&#24066;&#22330;\&#20998;&#26512;\RFM&#24213;&#31295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data1.xls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dirty="0" smtClean="0"/>
              <a:t>近一年用户平均消费间隔时间分布</a:t>
            </a:r>
            <a:endParaRPr lang="zh-CN" alt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用户平均消费间隔时间分布!$B$1</c:f>
              <c:strCache>
                <c:ptCount val="1"/>
                <c:pt idx="0">
                  <c:v>天数</c:v>
                </c:pt>
              </c:strCache>
            </c:strRef>
          </c:tx>
          <c:spPr>
            <a:solidFill>
              <a:schemeClr val="accent5">
                <a:shade val="76000"/>
              </a:schemeClr>
            </a:solidFill>
            <a:ln>
              <a:noFill/>
            </a:ln>
            <a:effectLst/>
          </c:spPr>
          <c:val>
            <c:numRef>
              <c:f>用户平均消费间隔时间分布!$B$2:$B$365</c:f>
              <c:numCache>
                <c:formatCode>General</c:formatCode>
                <c:ptCount val="36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  <c:pt idx="98">
                  <c:v>98</c:v>
                </c:pt>
                <c:pt idx="99">
                  <c:v>99</c:v>
                </c:pt>
                <c:pt idx="100">
                  <c:v>100</c:v>
                </c:pt>
                <c:pt idx="101">
                  <c:v>101</c:v>
                </c:pt>
                <c:pt idx="102">
                  <c:v>102</c:v>
                </c:pt>
                <c:pt idx="103">
                  <c:v>103</c:v>
                </c:pt>
                <c:pt idx="104">
                  <c:v>104</c:v>
                </c:pt>
                <c:pt idx="105">
                  <c:v>105</c:v>
                </c:pt>
                <c:pt idx="106">
                  <c:v>106</c:v>
                </c:pt>
                <c:pt idx="107">
                  <c:v>107</c:v>
                </c:pt>
                <c:pt idx="108">
                  <c:v>108</c:v>
                </c:pt>
                <c:pt idx="109">
                  <c:v>109</c:v>
                </c:pt>
                <c:pt idx="110">
                  <c:v>110</c:v>
                </c:pt>
                <c:pt idx="111">
                  <c:v>111</c:v>
                </c:pt>
                <c:pt idx="112">
                  <c:v>112</c:v>
                </c:pt>
                <c:pt idx="113">
                  <c:v>113</c:v>
                </c:pt>
                <c:pt idx="114">
                  <c:v>114</c:v>
                </c:pt>
                <c:pt idx="115">
                  <c:v>115</c:v>
                </c:pt>
                <c:pt idx="116">
                  <c:v>116</c:v>
                </c:pt>
                <c:pt idx="117">
                  <c:v>117</c:v>
                </c:pt>
                <c:pt idx="118">
                  <c:v>118</c:v>
                </c:pt>
                <c:pt idx="119">
                  <c:v>119</c:v>
                </c:pt>
                <c:pt idx="120">
                  <c:v>120</c:v>
                </c:pt>
                <c:pt idx="121">
                  <c:v>121</c:v>
                </c:pt>
                <c:pt idx="122">
                  <c:v>122</c:v>
                </c:pt>
                <c:pt idx="123">
                  <c:v>123</c:v>
                </c:pt>
                <c:pt idx="124">
                  <c:v>124</c:v>
                </c:pt>
                <c:pt idx="125">
                  <c:v>125</c:v>
                </c:pt>
                <c:pt idx="126">
                  <c:v>126</c:v>
                </c:pt>
                <c:pt idx="127">
                  <c:v>127</c:v>
                </c:pt>
                <c:pt idx="128">
                  <c:v>128</c:v>
                </c:pt>
                <c:pt idx="129">
                  <c:v>129</c:v>
                </c:pt>
                <c:pt idx="130">
                  <c:v>130</c:v>
                </c:pt>
                <c:pt idx="131">
                  <c:v>131</c:v>
                </c:pt>
                <c:pt idx="132">
                  <c:v>132</c:v>
                </c:pt>
                <c:pt idx="133">
                  <c:v>133</c:v>
                </c:pt>
                <c:pt idx="134">
                  <c:v>134</c:v>
                </c:pt>
                <c:pt idx="135">
                  <c:v>135</c:v>
                </c:pt>
                <c:pt idx="136">
                  <c:v>136</c:v>
                </c:pt>
                <c:pt idx="137">
                  <c:v>137</c:v>
                </c:pt>
                <c:pt idx="138">
                  <c:v>138</c:v>
                </c:pt>
                <c:pt idx="139">
                  <c:v>139</c:v>
                </c:pt>
                <c:pt idx="140">
                  <c:v>140</c:v>
                </c:pt>
                <c:pt idx="141">
                  <c:v>141</c:v>
                </c:pt>
                <c:pt idx="142">
                  <c:v>142</c:v>
                </c:pt>
                <c:pt idx="143">
                  <c:v>143</c:v>
                </c:pt>
                <c:pt idx="144">
                  <c:v>144</c:v>
                </c:pt>
                <c:pt idx="145">
                  <c:v>145</c:v>
                </c:pt>
                <c:pt idx="146">
                  <c:v>146</c:v>
                </c:pt>
                <c:pt idx="147">
                  <c:v>147</c:v>
                </c:pt>
                <c:pt idx="148">
                  <c:v>148</c:v>
                </c:pt>
                <c:pt idx="149">
                  <c:v>149</c:v>
                </c:pt>
                <c:pt idx="150">
                  <c:v>150</c:v>
                </c:pt>
                <c:pt idx="151">
                  <c:v>151</c:v>
                </c:pt>
                <c:pt idx="152">
                  <c:v>152</c:v>
                </c:pt>
                <c:pt idx="153">
                  <c:v>153</c:v>
                </c:pt>
                <c:pt idx="154">
                  <c:v>154</c:v>
                </c:pt>
                <c:pt idx="155">
                  <c:v>155</c:v>
                </c:pt>
                <c:pt idx="156">
                  <c:v>156</c:v>
                </c:pt>
                <c:pt idx="157">
                  <c:v>157</c:v>
                </c:pt>
                <c:pt idx="158">
                  <c:v>158</c:v>
                </c:pt>
                <c:pt idx="159">
                  <c:v>159</c:v>
                </c:pt>
                <c:pt idx="160">
                  <c:v>160</c:v>
                </c:pt>
                <c:pt idx="161">
                  <c:v>161</c:v>
                </c:pt>
                <c:pt idx="162">
                  <c:v>162</c:v>
                </c:pt>
                <c:pt idx="163">
                  <c:v>163</c:v>
                </c:pt>
                <c:pt idx="164">
                  <c:v>164</c:v>
                </c:pt>
                <c:pt idx="165">
                  <c:v>165</c:v>
                </c:pt>
                <c:pt idx="166">
                  <c:v>166</c:v>
                </c:pt>
                <c:pt idx="167">
                  <c:v>167</c:v>
                </c:pt>
                <c:pt idx="168">
                  <c:v>168</c:v>
                </c:pt>
                <c:pt idx="169">
                  <c:v>169</c:v>
                </c:pt>
                <c:pt idx="170">
                  <c:v>170</c:v>
                </c:pt>
                <c:pt idx="171">
                  <c:v>171</c:v>
                </c:pt>
                <c:pt idx="172">
                  <c:v>172</c:v>
                </c:pt>
                <c:pt idx="173">
                  <c:v>173</c:v>
                </c:pt>
                <c:pt idx="174">
                  <c:v>174</c:v>
                </c:pt>
                <c:pt idx="175">
                  <c:v>175</c:v>
                </c:pt>
                <c:pt idx="176">
                  <c:v>176</c:v>
                </c:pt>
                <c:pt idx="177">
                  <c:v>177</c:v>
                </c:pt>
                <c:pt idx="178">
                  <c:v>178</c:v>
                </c:pt>
                <c:pt idx="179">
                  <c:v>179</c:v>
                </c:pt>
                <c:pt idx="180">
                  <c:v>180</c:v>
                </c:pt>
                <c:pt idx="181">
                  <c:v>181</c:v>
                </c:pt>
                <c:pt idx="182">
                  <c:v>182</c:v>
                </c:pt>
                <c:pt idx="183">
                  <c:v>183</c:v>
                </c:pt>
                <c:pt idx="184">
                  <c:v>184</c:v>
                </c:pt>
                <c:pt idx="185">
                  <c:v>185</c:v>
                </c:pt>
                <c:pt idx="186">
                  <c:v>186</c:v>
                </c:pt>
                <c:pt idx="187">
                  <c:v>187</c:v>
                </c:pt>
                <c:pt idx="188">
                  <c:v>188</c:v>
                </c:pt>
                <c:pt idx="189">
                  <c:v>189</c:v>
                </c:pt>
                <c:pt idx="190">
                  <c:v>190</c:v>
                </c:pt>
                <c:pt idx="191">
                  <c:v>191</c:v>
                </c:pt>
                <c:pt idx="192">
                  <c:v>192</c:v>
                </c:pt>
                <c:pt idx="193">
                  <c:v>193</c:v>
                </c:pt>
                <c:pt idx="194">
                  <c:v>194</c:v>
                </c:pt>
                <c:pt idx="195">
                  <c:v>195</c:v>
                </c:pt>
                <c:pt idx="196">
                  <c:v>196</c:v>
                </c:pt>
                <c:pt idx="197">
                  <c:v>197</c:v>
                </c:pt>
                <c:pt idx="198">
                  <c:v>198</c:v>
                </c:pt>
                <c:pt idx="199">
                  <c:v>199</c:v>
                </c:pt>
                <c:pt idx="200">
                  <c:v>200</c:v>
                </c:pt>
                <c:pt idx="201">
                  <c:v>201</c:v>
                </c:pt>
                <c:pt idx="202">
                  <c:v>202</c:v>
                </c:pt>
                <c:pt idx="203">
                  <c:v>203</c:v>
                </c:pt>
                <c:pt idx="204">
                  <c:v>204</c:v>
                </c:pt>
                <c:pt idx="205">
                  <c:v>205</c:v>
                </c:pt>
                <c:pt idx="206">
                  <c:v>206</c:v>
                </c:pt>
                <c:pt idx="207">
                  <c:v>207</c:v>
                </c:pt>
                <c:pt idx="208">
                  <c:v>208</c:v>
                </c:pt>
                <c:pt idx="209">
                  <c:v>209</c:v>
                </c:pt>
                <c:pt idx="210">
                  <c:v>210</c:v>
                </c:pt>
                <c:pt idx="211">
                  <c:v>211</c:v>
                </c:pt>
                <c:pt idx="212">
                  <c:v>212</c:v>
                </c:pt>
                <c:pt idx="213">
                  <c:v>213</c:v>
                </c:pt>
                <c:pt idx="214">
                  <c:v>214</c:v>
                </c:pt>
                <c:pt idx="215">
                  <c:v>215</c:v>
                </c:pt>
                <c:pt idx="216">
                  <c:v>216</c:v>
                </c:pt>
                <c:pt idx="217">
                  <c:v>217</c:v>
                </c:pt>
                <c:pt idx="218">
                  <c:v>218</c:v>
                </c:pt>
                <c:pt idx="219">
                  <c:v>219</c:v>
                </c:pt>
                <c:pt idx="220">
                  <c:v>220</c:v>
                </c:pt>
                <c:pt idx="221">
                  <c:v>221</c:v>
                </c:pt>
                <c:pt idx="222">
                  <c:v>222</c:v>
                </c:pt>
                <c:pt idx="223">
                  <c:v>223</c:v>
                </c:pt>
                <c:pt idx="224">
                  <c:v>224</c:v>
                </c:pt>
                <c:pt idx="225">
                  <c:v>225</c:v>
                </c:pt>
                <c:pt idx="226">
                  <c:v>226</c:v>
                </c:pt>
                <c:pt idx="227">
                  <c:v>227</c:v>
                </c:pt>
                <c:pt idx="228">
                  <c:v>228</c:v>
                </c:pt>
                <c:pt idx="229">
                  <c:v>229</c:v>
                </c:pt>
                <c:pt idx="230">
                  <c:v>230</c:v>
                </c:pt>
                <c:pt idx="231">
                  <c:v>231</c:v>
                </c:pt>
                <c:pt idx="232">
                  <c:v>232</c:v>
                </c:pt>
                <c:pt idx="233">
                  <c:v>233</c:v>
                </c:pt>
                <c:pt idx="234">
                  <c:v>234</c:v>
                </c:pt>
                <c:pt idx="235">
                  <c:v>235</c:v>
                </c:pt>
                <c:pt idx="236">
                  <c:v>236</c:v>
                </c:pt>
                <c:pt idx="237">
                  <c:v>237</c:v>
                </c:pt>
                <c:pt idx="238">
                  <c:v>238</c:v>
                </c:pt>
                <c:pt idx="239">
                  <c:v>239</c:v>
                </c:pt>
                <c:pt idx="240">
                  <c:v>240</c:v>
                </c:pt>
                <c:pt idx="241">
                  <c:v>241</c:v>
                </c:pt>
                <c:pt idx="242">
                  <c:v>242</c:v>
                </c:pt>
                <c:pt idx="243">
                  <c:v>243</c:v>
                </c:pt>
                <c:pt idx="244">
                  <c:v>244</c:v>
                </c:pt>
                <c:pt idx="245">
                  <c:v>245</c:v>
                </c:pt>
                <c:pt idx="246">
                  <c:v>246</c:v>
                </c:pt>
                <c:pt idx="247">
                  <c:v>247</c:v>
                </c:pt>
                <c:pt idx="248">
                  <c:v>248</c:v>
                </c:pt>
                <c:pt idx="249">
                  <c:v>249</c:v>
                </c:pt>
                <c:pt idx="250">
                  <c:v>250</c:v>
                </c:pt>
                <c:pt idx="251">
                  <c:v>251</c:v>
                </c:pt>
                <c:pt idx="252">
                  <c:v>252</c:v>
                </c:pt>
                <c:pt idx="253">
                  <c:v>253</c:v>
                </c:pt>
                <c:pt idx="254">
                  <c:v>254</c:v>
                </c:pt>
                <c:pt idx="255">
                  <c:v>255</c:v>
                </c:pt>
                <c:pt idx="256">
                  <c:v>256</c:v>
                </c:pt>
                <c:pt idx="257">
                  <c:v>257</c:v>
                </c:pt>
                <c:pt idx="258">
                  <c:v>258</c:v>
                </c:pt>
                <c:pt idx="259">
                  <c:v>259</c:v>
                </c:pt>
                <c:pt idx="260">
                  <c:v>260</c:v>
                </c:pt>
                <c:pt idx="261">
                  <c:v>261</c:v>
                </c:pt>
                <c:pt idx="262">
                  <c:v>262</c:v>
                </c:pt>
                <c:pt idx="263">
                  <c:v>263</c:v>
                </c:pt>
                <c:pt idx="264">
                  <c:v>264</c:v>
                </c:pt>
                <c:pt idx="265">
                  <c:v>265</c:v>
                </c:pt>
                <c:pt idx="266">
                  <c:v>266</c:v>
                </c:pt>
                <c:pt idx="267">
                  <c:v>267</c:v>
                </c:pt>
                <c:pt idx="268">
                  <c:v>268</c:v>
                </c:pt>
                <c:pt idx="269">
                  <c:v>269</c:v>
                </c:pt>
                <c:pt idx="270">
                  <c:v>270</c:v>
                </c:pt>
                <c:pt idx="271">
                  <c:v>271</c:v>
                </c:pt>
                <c:pt idx="272">
                  <c:v>272</c:v>
                </c:pt>
                <c:pt idx="273">
                  <c:v>273</c:v>
                </c:pt>
                <c:pt idx="274">
                  <c:v>274</c:v>
                </c:pt>
                <c:pt idx="275">
                  <c:v>275</c:v>
                </c:pt>
                <c:pt idx="276">
                  <c:v>276</c:v>
                </c:pt>
                <c:pt idx="277">
                  <c:v>277</c:v>
                </c:pt>
                <c:pt idx="278">
                  <c:v>278</c:v>
                </c:pt>
                <c:pt idx="279">
                  <c:v>279</c:v>
                </c:pt>
                <c:pt idx="280">
                  <c:v>280</c:v>
                </c:pt>
                <c:pt idx="281">
                  <c:v>281</c:v>
                </c:pt>
                <c:pt idx="282">
                  <c:v>282</c:v>
                </c:pt>
                <c:pt idx="283">
                  <c:v>283</c:v>
                </c:pt>
                <c:pt idx="284">
                  <c:v>284</c:v>
                </c:pt>
                <c:pt idx="285">
                  <c:v>285</c:v>
                </c:pt>
                <c:pt idx="286">
                  <c:v>286</c:v>
                </c:pt>
                <c:pt idx="287">
                  <c:v>287</c:v>
                </c:pt>
                <c:pt idx="288">
                  <c:v>288</c:v>
                </c:pt>
                <c:pt idx="289">
                  <c:v>289</c:v>
                </c:pt>
                <c:pt idx="290">
                  <c:v>290</c:v>
                </c:pt>
                <c:pt idx="291">
                  <c:v>291</c:v>
                </c:pt>
                <c:pt idx="292">
                  <c:v>292</c:v>
                </c:pt>
                <c:pt idx="293">
                  <c:v>293</c:v>
                </c:pt>
                <c:pt idx="294">
                  <c:v>294</c:v>
                </c:pt>
                <c:pt idx="295">
                  <c:v>295</c:v>
                </c:pt>
                <c:pt idx="296">
                  <c:v>296</c:v>
                </c:pt>
                <c:pt idx="297">
                  <c:v>297</c:v>
                </c:pt>
                <c:pt idx="298">
                  <c:v>298</c:v>
                </c:pt>
                <c:pt idx="299">
                  <c:v>299</c:v>
                </c:pt>
                <c:pt idx="300">
                  <c:v>300</c:v>
                </c:pt>
                <c:pt idx="301">
                  <c:v>301</c:v>
                </c:pt>
                <c:pt idx="302">
                  <c:v>302</c:v>
                </c:pt>
                <c:pt idx="303">
                  <c:v>303</c:v>
                </c:pt>
                <c:pt idx="304">
                  <c:v>304</c:v>
                </c:pt>
                <c:pt idx="305">
                  <c:v>305</c:v>
                </c:pt>
                <c:pt idx="306">
                  <c:v>306</c:v>
                </c:pt>
                <c:pt idx="307">
                  <c:v>307</c:v>
                </c:pt>
                <c:pt idx="308">
                  <c:v>308</c:v>
                </c:pt>
                <c:pt idx="309">
                  <c:v>309</c:v>
                </c:pt>
                <c:pt idx="310">
                  <c:v>310</c:v>
                </c:pt>
                <c:pt idx="311">
                  <c:v>311</c:v>
                </c:pt>
                <c:pt idx="312">
                  <c:v>312</c:v>
                </c:pt>
                <c:pt idx="313">
                  <c:v>313</c:v>
                </c:pt>
                <c:pt idx="314">
                  <c:v>314</c:v>
                </c:pt>
                <c:pt idx="315">
                  <c:v>315</c:v>
                </c:pt>
                <c:pt idx="316">
                  <c:v>316</c:v>
                </c:pt>
                <c:pt idx="317">
                  <c:v>317</c:v>
                </c:pt>
                <c:pt idx="318">
                  <c:v>318</c:v>
                </c:pt>
                <c:pt idx="319">
                  <c:v>319</c:v>
                </c:pt>
                <c:pt idx="320">
                  <c:v>320</c:v>
                </c:pt>
                <c:pt idx="321">
                  <c:v>321</c:v>
                </c:pt>
                <c:pt idx="322">
                  <c:v>322</c:v>
                </c:pt>
                <c:pt idx="323">
                  <c:v>323</c:v>
                </c:pt>
                <c:pt idx="324">
                  <c:v>324</c:v>
                </c:pt>
                <c:pt idx="325">
                  <c:v>325</c:v>
                </c:pt>
                <c:pt idx="326">
                  <c:v>326</c:v>
                </c:pt>
                <c:pt idx="327">
                  <c:v>327</c:v>
                </c:pt>
                <c:pt idx="328">
                  <c:v>328</c:v>
                </c:pt>
                <c:pt idx="329">
                  <c:v>329</c:v>
                </c:pt>
                <c:pt idx="330">
                  <c:v>330</c:v>
                </c:pt>
                <c:pt idx="331">
                  <c:v>331</c:v>
                </c:pt>
                <c:pt idx="332">
                  <c:v>332</c:v>
                </c:pt>
                <c:pt idx="333">
                  <c:v>333</c:v>
                </c:pt>
                <c:pt idx="334">
                  <c:v>334</c:v>
                </c:pt>
                <c:pt idx="335">
                  <c:v>335</c:v>
                </c:pt>
                <c:pt idx="336">
                  <c:v>336</c:v>
                </c:pt>
                <c:pt idx="337">
                  <c:v>337</c:v>
                </c:pt>
                <c:pt idx="338">
                  <c:v>338</c:v>
                </c:pt>
                <c:pt idx="339">
                  <c:v>339</c:v>
                </c:pt>
                <c:pt idx="340">
                  <c:v>340</c:v>
                </c:pt>
                <c:pt idx="341">
                  <c:v>341</c:v>
                </c:pt>
                <c:pt idx="342">
                  <c:v>342</c:v>
                </c:pt>
                <c:pt idx="343">
                  <c:v>343</c:v>
                </c:pt>
                <c:pt idx="344">
                  <c:v>344</c:v>
                </c:pt>
                <c:pt idx="345">
                  <c:v>345</c:v>
                </c:pt>
                <c:pt idx="346">
                  <c:v>346</c:v>
                </c:pt>
                <c:pt idx="347">
                  <c:v>347</c:v>
                </c:pt>
                <c:pt idx="348">
                  <c:v>348</c:v>
                </c:pt>
                <c:pt idx="349">
                  <c:v>349</c:v>
                </c:pt>
                <c:pt idx="350">
                  <c:v>350</c:v>
                </c:pt>
                <c:pt idx="351">
                  <c:v>351</c:v>
                </c:pt>
                <c:pt idx="352">
                  <c:v>352</c:v>
                </c:pt>
                <c:pt idx="353">
                  <c:v>353</c:v>
                </c:pt>
                <c:pt idx="354">
                  <c:v>354</c:v>
                </c:pt>
                <c:pt idx="355">
                  <c:v>355</c:v>
                </c:pt>
                <c:pt idx="356">
                  <c:v>356</c:v>
                </c:pt>
                <c:pt idx="357">
                  <c:v>357</c:v>
                </c:pt>
                <c:pt idx="358">
                  <c:v>358</c:v>
                </c:pt>
                <c:pt idx="359">
                  <c:v>359</c:v>
                </c:pt>
                <c:pt idx="360">
                  <c:v>360</c:v>
                </c:pt>
                <c:pt idx="361">
                  <c:v>361</c:v>
                </c:pt>
                <c:pt idx="362">
                  <c:v>362</c:v>
                </c:pt>
                <c:pt idx="363">
                  <c:v>363</c:v>
                </c:pt>
              </c:numCache>
            </c:numRef>
          </c:val>
        </c:ser>
        <c:ser>
          <c:idx val="1"/>
          <c:order val="1"/>
          <c:tx>
            <c:strRef>
              <c:f>用户平均消费间隔时间分布!$C$1</c:f>
              <c:strCache>
                <c:ptCount val="1"/>
                <c:pt idx="0">
                  <c:v>人数</c:v>
                </c:pt>
              </c:strCache>
            </c:strRef>
          </c:tx>
          <c:spPr>
            <a:solidFill>
              <a:schemeClr val="accent5">
                <a:tint val="77000"/>
              </a:schemeClr>
            </a:solidFill>
            <a:ln>
              <a:noFill/>
            </a:ln>
            <a:effectLst/>
          </c:spPr>
          <c:val>
            <c:numRef>
              <c:f>用户平均消费间隔时间分布!$C$2:$C$365</c:f>
              <c:numCache>
                <c:formatCode>General</c:formatCode>
                <c:ptCount val="364"/>
                <c:pt idx="0">
                  <c:v>485842</c:v>
                </c:pt>
                <c:pt idx="1">
                  <c:v>286401</c:v>
                </c:pt>
                <c:pt idx="2">
                  <c:v>284865</c:v>
                </c:pt>
                <c:pt idx="3">
                  <c:v>364616</c:v>
                </c:pt>
                <c:pt idx="4">
                  <c:v>458826</c:v>
                </c:pt>
                <c:pt idx="5">
                  <c:v>533139</c:v>
                </c:pt>
                <c:pt idx="6">
                  <c:v>580655</c:v>
                </c:pt>
                <c:pt idx="7">
                  <c:v>605505</c:v>
                </c:pt>
                <c:pt idx="8">
                  <c:v>611693</c:v>
                </c:pt>
                <c:pt idx="9">
                  <c:v>605305</c:v>
                </c:pt>
                <c:pt idx="10">
                  <c:v>593907</c:v>
                </c:pt>
                <c:pt idx="11">
                  <c:v>580021</c:v>
                </c:pt>
                <c:pt idx="12">
                  <c:v>560007</c:v>
                </c:pt>
                <c:pt idx="13">
                  <c:v>541837</c:v>
                </c:pt>
                <c:pt idx="14">
                  <c:v>521898</c:v>
                </c:pt>
                <c:pt idx="15">
                  <c:v>499326</c:v>
                </c:pt>
                <c:pt idx="16">
                  <c:v>480518</c:v>
                </c:pt>
                <c:pt idx="17">
                  <c:v>459120</c:v>
                </c:pt>
                <c:pt idx="18">
                  <c:v>441252</c:v>
                </c:pt>
                <c:pt idx="19">
                  <c:v>421658</c:v>
                </c:pt>
                <c:pt idx="20">
                  <c:v>401051</c:v>
                </c:pt>
                <c:pt idx="21">
                  <c:v>386017</c:v>
                </c:pt>
                <c:pt idx="22">
                  <c:v>366458</c:v>
                </c:pt>
                <c:pt idx="23">
                  <c:v>351686</c:v>
                </c:pt>
                <c:pt idx="24">
                  <c:v>335859</c:v>
                </c:pt>
                <c:pt idx="25">
                  <c:v>320135</c:v>
                </c:pt>
                <c:pt idx="26">
                  <c:v>308263</c:v>
                </c:pt>
                <c:pt idx="27">
                  <c:v>292320</c:v>
                </c:pt>
                <c:pt idx="28">
                  <c:v>284166</c:v>
                </c:pt>
                <c:pt idx="29">
                  <c:v>267605</c:v>
                </c:pt>
                <c:pt idx="30">
                  <c:v>261381</c:v>
                </c:pt>
                <c:pt idx="31">
                  <c:v>245391</c:v>
                </c:pt>
                <c:pt idx="32">
                  <c:v>239581</c:v>
                </c:pt>
                <c:pt idx="33">
                  <c:v>226398</c:v>
                </c:pt>
                <c:pt idx="34">
                  <c:v>210632</c:v>
                </c:pt>
                <c:pt idx="35">
                  <c:v>211294</c:v>
                </c:pt>
                <c:pt idx="36">
                  <c:v>198951</c:v>
                </c:pt>
                <c:pt idx="37">
                  <c:v>186035</c:v>
                </c:pt>
                <c:pt idx="38">
                  <c:v>184689</c:v>
                </c:pt>
                <c:pt idx="39">
                  <c:v>186252</c:v>
                </c:pt>
                <c:pt idx="40">
                  <c:v>175036</c:v>
                </c:pt>
                <c:pt idx="41">
                  <c:v>159990</c:v>
                </c:pt>
                <c:pt idx="42">
                  <c:v>152999</c:v>
                </c:pt>
                <c:pt idx="43">
                  <c:v>150700</c:v>
                </c:pt>
                <c:pt idx="44">
                  <c:v>146740</c:v>
                </c:pt>
                <c:pt idx="45">
                  <c:v>139903</c:v>
                </c:pt>
                <c:pt idx="46">
                  <c:v>129376</c:v>
                </c:pt>
                <c:pt idx="47">
                  <c:v>127207</c:v>
                </c:pt>
                <c:pt idx="48">
                  <c:v>126342</c:v>
                </c:pt>
                <c:pt idx="49">
                  <c:v>128478</c:v>
                </c:pt>
                <c:pt idx="50">
                  <c:v>122119</c:v>
                </c:pt>
                <c:pt idx="51">
                  <c:v>113604</c:v>
                </c:pt>
                <c:pt idx="52">
                  <c:v>104976</c:v>
                </c:pt>
                <c:pt idx="53">
                  <c:v>99620</c:v>
                </c:pt>
                <c:pt idx="54">
                  <c:v>97577</c:v>
                </c:pt>
                <c:pt idx="55">
                  <c:v>96660</c:v>
                </c:pt>
                <c:pt idx="56">
                  <c:v>96606</c:v>
                </c:pt>
                <c:pt idx="57">
                  <c:v>94174</c:v>
                </c:pt>
                <c:pt idx="58">
                  <c:v>92825</c:v>
                </c:pt>
                <c:pt idx="59">
                  <c:v>88263</c:v>
                </c:pt>
                <c:pt idx="60">
                  <c:v>82206</c:v>
                </c:pt>
                <c:pt idx="61">
                  <c:v>76447</c:v>
                </c:pt>
                <c:pt idx="62">
                  <c:v>72826</c:v>
                </c:pt>
                <c:pt idx="63">
                  <c:v>72711</c:v>
                </c:pt>
                <c:pt idx="64">
                  <c:v>71436</c:v>
                </c:pt>
                <c:pt idx="65">
                  <c:v>70199</c:v>
                </c:pt>
                <c:pt idx="66">
                  <c:v>69801</c:v>
                </c:pt>
                <c:pt idx="67">
                  <c:v>70381</c:v>
                </c:pt>
                <c:pt idx="68">
                  <c:v>68248</c:v>
                </c:pt>
                <c:pt idx="69">
                  <c:v>66632</c:v>
                </c:pt>
                <c:pt idx="70">
                  <c:v>64037</c:v>
                </c:pt>
                <c:pt idx="71">
                  <c:v>59510</c:v>
                </c:pt>
                <c:pt idx="72">
                  <c:v>56452</c:v>
                </c:pt>
                <c:pt idx="73">
                  <c:v>56144</c:v>
                </c:pt>
                <c:pt idx="74">
                  <c:v>51309</c:v>
                </c:pt>
                <c:pt idx="75">
                  <c:v>50106</c:v>
                </c:pt>
                <c:pt idx="76">
                  <c:v>50152</c:v>
                </c:pt>
                <c:pt idx="77">
                  <c:v>50516</c:v>
                </c:pt>
                <c:pt idx="78">
                  <c:v>49170</c:v>
                </c:pt>
                <c:pt idx="79">
                  <c:v>48587</c:v>
                </c:pt>
                <c:pt idx="80">
                  <c:v>47702</c:v>
                </c:pt>
                <c:pt idx="81">
                  <c:v>46422</c:v>
                </c:pt>
                <c:pt idx="82">
                  <c:v>45535</c:v>
                </c:pt>
                <c:pt idx="83">
                  <c:v>43857</c:v>
                </c:pt>
                <c:pt idx="84">
                  <c:v>43947</c:v>
                </c:pt>
                <c:pt idx="85">
                  <c:v>42698</c:v>
                </c:pt>
                <c:pt idx="86">
                  <c:v>41412</c:v>
                </c:pt>
                <c:pt idx="87">
                  <c:v>40259</c:v>
                </c:pt>
                <c:pt idx="88">
                  <c:v>38185</c:v>
                </c:pt>
                <c:pt idx="89">
                  <c:v>36980</c:v>
                </c:pt>
                <c:pt idx="90">
                  <c:v>34426</c:v>
                </c:pt>
                <c:pt idx="91">
                  <c:v>33173</c:v>
                </c:pt>
                <c:pt idx="92">
                  <c:v>30927</c:v>
                </c:pt>
                <c:pt idx="93">
                  <c:v>30531</c:v>
                </c:pt>
                <c:pt idx="94">
                  <c:v>29993</c:v>
                </c:pt>
                <c:pt idx="95">
                  <c:v>29830</c:v>
                </c:pt>
                <c:pt idx="96">
                  <c:v>29252</c:v>
                </c:pt>
                <c:pt idx="97">
                  <c:v>28675</c:v>
                </c:pt>
                <c:pt idx="98">
                  <c:v>28680</c:v>
                </c:pt>
                <c:pt idx="99">
                  <c:v>28074</c:v>
                </c:pt>
                <c:pt idx="100">
                  <c:v>28110</c:v>
                </c:pt>
                <c:pt idx="101">
                  <c:v>27176</c:v>
                </c:pt>
                <c:pt idx="102">
                  <c:v>26529</c:v>
                </c:pt>
                <c:pt idx="103">
                  <c:v>25956</c:v>
                </c:pt>
                <c:pt idx="104">
                  <c:v>25451</c:v>
                </c:pt>
                <c:pt idx="105">
                  <c:v>26019</c:v>
                </c:pt>
                <c:pt idx="106">
                  <c:v>25461</c:v>
                </c:pt>
                <c:pt idx="107">
                  <c:v>24418</c:v>
                </c:pt>
                <c:pt idx="108">
                  <c:v>24178</c:v>
                </c:pt>
                <c:pt idx="109">
                  <c:v>23720</c:v>
                </c:pt>
                <c:pt idx="110">
                  <c:v>23537</c:v>
                </c:pt>
                <c:pt idx="111">
                  <c:v>23613</c:v>
                </c:pt>
                <c:pt idx="112">
                  <c:v>23457</c:v>
                </c:pt>
                <c:pt idx="113">
                  <c:v>22792</c:v>
                </c:pt>
                <c:pt idx="114">
                  <c:v>22327</c:v>
                </c:pt>
                <c:pt idx="115">
                  <c:v>22437</c:v>
                </c:pt>
                <c:pt idx="116">
                  <c:v>21461</c:v>
                </c:pt>
                <c:pt idx="117">
                  <c:v>19900</c:v>
                </c:pt>
                <c:pt idx="118">
                  <c:v>19073</c:v>
                </c:pt>
                <c:pt idx="119">
                  <c:v>18634</c:v>
                </c:pt>
                <c:pt idx="120">
                  <c:v>17389</c:v>
                </c:pt>
                <c:pt idx="121">
                  <c:v>16345</c:v>
                </c:pt>
                <c:pt idx="122">
                  <c:v>15167</c:v>
                </c:pt>
                <c:pt idx="123">
                  <c:v>14839</c:v>
                </c:pt>
                <c:pt idx="124">
                  <c:v>14668</c:v>
                </c:pt>
                <c:pt idx="125">
                  <c:v>14218</c:v>
                </c:pt>
                <c:pt idx="126">
                  <c:v>14438</c:v>
                </c:pt>
                <c:pt idx="127">
                  <c:v>14118</c:v>
                </c:pt>
                <c:pt idx="128">
                  <c:v>13908</c:v>
                </c:pt>
                <c:pt idx="129">
                  <c:v>13787</c:v>
                </c:pt>
                <c:pt idx="130">
                  <c:v>13641</c:v>
                </c:pt>
                <c:pt idx="131">
                  <c:v>13510</c:v>
                </c:pt>
                <c:pt idx="132">
                  <c:v>13634</c:v>
                </c:pt>
                <c:pt idx="133">
                  <c:v>13749</c:v>
                </c:pt>
                <c:pt idx="134">
                  <c:v>13493</c:v>
                </c:pt>
                <c:pt idx="135">
                  <c:v>13480</c:v>
                </c:pt>
                <c:pt idx="136">
                  <c:v>13833</c:v>
                </c:pt>
                <c:pt idx="137">
                  <c:v>13475</c:v>
                </c:pt>
                <c:pt idx="138">
                  <c:v>13021</c:v>
                </c:pt>
                <c:pt idx="139">
                  <c:v>13025</c:v>
                </c:pt>
                <c:pt idx="140">
                  <c:v>12904</c:v>
                </c:pt>
                <c:pt idx="141">
                  <c:v>12685</c:v>
                </c:pt>
                <c:pt idx="142">
                  <c:v>12379</c:v>
                </c:pt>
                <c:pt idx="143">
                  <c:v>12331</c:v>
                </c:pt>
                <c:pt idx="144">
                  <c:v>12530</c:v>
                </c:pt>
                <c:pt idx="145">
                  <c:v>12735</c:v>
                </c:pt>
                <c:pt idx="146">
                  <c:v>15261</c:v>
                </c:pt>
                <c:pt idx="147">
                  <c:v>12472</c:v>
                </c:pt>
                <c:pt idx="148">
                  <c:v>11825</c:v>
                </c:pt>
                <c:pt idx="149">
                  <c:v>11544</c:v>
                </c:pt>
                <c:pt idx="150">
                  <c:v>11726</c:v>
                </c:pt>
                <c:pt idx="151">
                  <c:v>11517</c:v>
                </c:pt>
                <c:pt idx="152">
                  <c:v>11502</c:v>
                </c:pt>
                <c:pt idx="153">
                  <c:v>11537</c:v>
                </c:pt>
                <c:pt idx="154">
                  <c:v>11154</c:v>
                </c:pt>
                <c:pt idx="155">
                  <c:v>11242</c:v>
                </c:pt>
                <c:pt idx="156">
                  <c:v>10908</c:v>
                </c:pt>
                <c:pt idx="157">
                  <c:v>10930</c:v>
                </c:pt>
                <c:pt idx="158">
                  <c:v>10755</c:v>
                </c:pt>
                <c:pt idx="159">
                  <c:v>10505</c:v>
                </c:pt>
                <c:pt idx="160">
                  <c:v>10211</c:v>
                </c:pt>
                <c:pt idx="161">
                  <c:v>10245</c:v>
                </c:pt>
                <c:pt idx="162">
                  <c:v>10052</c:v>
                </c:pt>
                <c:pt idx="163">
                  <c:v>10191</c:v>
                </c:pt>
                <c:pt idx="164">
                  <c:v>9215</c:v>
                </c:pt>
                <c:pt idx="165">
                  <c:v>9123</c:v>
                </c:pt>
                <c:pt idx="166">
                  <c:v>8973</c:v>
                </c:pt>
                <c:pt idx="167">
                  <c:v>8915</c:v>
                </c:pt>
                <c:pt idx="168">
                  <c:v>8871</c:v>
                </c:pt>
                <c:pt idx="169">
                  <c:v>8555</c:v>
                </c:pt>
                <c:pt idx="170">
                  <c:v>8419</c:v>
                </c:pt>
                <c:pt idx="171">
                  <c:v>8086</c:v>
                </c:pt>
                <c:pt idx="172">
                  <c:v>7992</c:v>
                </c:pt>
                <c:pt idx="173">
                  <c:v>7804</c:v>
                </c:pt>
                <c:pt idx="174">
                  <c:v>7545</c:v>
                </c:pt>
                <c:pt idx="175">
                  <c:v>7102</c:v>
                </c:pt>
                <c:pt idx="176">
                  <c:v>6932</c:v>
                </c:pt>
                <c:pt idx="177">
                  <c:v>7178</c:v>
                </c:pt>
                <c:pt idx="178">
                  <c:v>6173</c:v>
                </c:pt>
                <c:pt idx="179">
                  <c:v>5981</c:v>
                </c:pt>
                <c:pt idx="180">
                  <c:v>5723</c:v>
                </c:pt>
                <c:pt idx="181">
                  <c:v>5693</c:v>
                </c:pt>
                <c:pt idx="182">
                  <c:v>5348</c:v>
                </c:pt>
                <c:pt idx="183">
                  <c:v>4927</c:v>
                </c:pt>
                <c:pt idx="184">
                  <c:v>4904</c:v>
                </c:pt>
                <c:pt idx="185">
                  <c:v>4906</c:v>
                </c:pt>
                <c:pt idx="186">
                  <c:v>4938</c:v>
                </c:pt>
                <c:pt idx="187">
                  <c:v>4831</c:v>
                </c:pt>
                <c:pt idx="188">
                  <c:v>5051</c:v>
                </c:pt>
                <c:pt idx="189">
                  <c:v>4933</c:v>
                </c:pt>
                <c:pt idx="190">
                  <c:v>4939</c:v>
                </c:pt>
                <c:pt idx="191">
                  <c:v>4638</c:v>
                </c:pt>
                <c:pt idx="192">
                  <c:v>4690</c:v>
                </c:pt>
                <c:pt idx="193">
                  <c:v>4570</c:v>
                </c:pt>
                <c:pt idx="194">
                  <c:v>4689</c:v>
                </c:pt>
                <c:pt idx="195">
                  <c:v>4472</c:v>
                </c:pt>
                <c:pt idx="196">
                  <c:v>4478</c:v>
                </c:pt>
                <c:pt idx="197">
                  <c:v>4556</c:v>
                </c:pt>
                <c:pt idx="198">
                  <c:v>4547</c:v>
                </c:pt>
                <c:pt idx="199">
                  <c:v>4479</c:v>
                </c:pt>
                <c:pt idx="200">
                  <c:v>4321</c:v>
                </c:pt>
                <c:pt idx="201">
                  <c:v>4186</c:v>
                </c:pt>
                <c:pt idx="202">
                  <c:v>3957</c:v>
                </c:pt>
                <c:pt idx="203">
                  <c:v>3964</c:v>
                </c:pt>
                <c:pt idx="204">
                  <c:v>3805</c:v>
                </c:pt>
                <c:pt idx="205">
                  <c:v>3705</c:v>
                </c:pt>
                <c:pt idx="206">
                  <c:v>3627</c:v>
                </c:pt>
                <c:pt idx="207">
                  <c:v>3628</c:v>
                </c:pt>
                <c:pt idx="208">
                  <c:v>3565</c:v>
                </c:pt>
                <c:pt idx="209">
                  <c:v>3627</c:v>
                </c:pt>
                <c:pt idx="210">
                  <c:v>3561</c:v>
                </c:pt>
                <c:pt idx="211">
                  <c:v>3543</c:v>
                </c:pt>
                <c:pt idx="212">
                  <c:v>3417</c:v>
                </c:pt>
                <c:pt idx="213">
                  <c:v>3323</c:v>
                </c:pt>
                <c:pt idx="214">
                  <c:v>3363</c:v>
                </c:pt>
                <c:pt idx="215">
                  <c:v>3304</c:v>
                </c:pt>
                <c:pt idx="216">
                  <c:v>3182</c:v>
                </c:pt>
                <c:pt idx="217">
                  <c:v>3360</c:v>
                </c:pt>
                <c:pt idx="218">
                  <c:v>3166</c:v>
                </c:pt>
                <c:pt idx="219">
                  <c:v>3209</c:v>
                </c:pt>
                <c:pt idx="220">
                  <c:v>3208</c:v>
                </c:pt>
                <c:pt idx="221">
                  <c:v>3223</c:v>
                </c:pt>
                <c:pt idx="222">
                  <c:v>3177</c:v>
                </c:pt>
                <c:pt idx="223">
                  <c:v>3157</c:v>
                </c:pt>
                <c:pt idx="224">
                  <c:v>3238</c:v>
                </c:pt>
                <c:pt idx="225">
                  <c:v>3138</c:v>
                </c:pt>
                <c:pt idx="226">
                  <c:v>3128</c:v>
                </c:pt>
                <c:pt idx="227">
                  <c:v>3069</c:v>
                </c:pt>
                <c:pt idx="228">
                  <c:v>3041</c:v>
                </c:pt>
                <c:pt idx="229">
                  <c:v>2989</c:v>
                </c:pt>
                <c:pt idx="230">
                  <c:v>3102</c:v>
                </c:pt>
                <c:pt idx="231">
                  <c:v>3154</c:v>
                </c:pt>
                <c:pt idx="232">
                  <c:v>3090</c:v>
                </c:pt>
                <c:pt idx="233">
                  <c:v>2909</c:v>
                </c:pt>
                <c:pt idx="234">
                  <c:v>2964</c:v>
                </c:pt>
                <c:pt idx="235">
                  <c:v>2786</c:v>
                </c:pt>
                <c:pt idx="236">
                  <c:v>2981</c:v>
                </c:pt>
                <c:pt idx="237">
                  <c:v>2876</c:v>
                </c:pt>
                <c:pt idx="238">
                  <c:v>2935</c:v>
                </c:pt>
                <c:pt idx="239">
                  <c:v>2749</c:v>
                </c:pt>
                <c:pt idx="240">
                  <c:v>2671</c:v>
                </c:pt>
                <c:pt idx="241">
                  <c:v>2624</c:v>
                </c:pt>
                <c:pt idx="242">
                  <c:v>2541</c:v>
                </c:pt>
                <c:pt idx="243">
                  <c:v>2468</c:v>
                </c:pt>
                <c:pt idx="244">
                  <c:v>2547</c:v>
                </c:pt>
                <c:pt idx="245">
                  <c:v>2493</c:v>
                </c:pt>
                <c:pt idx="246">
                  <c:v>2432</c:v>
                </c:pt>
                <c:pt idx="247">
                  <c:v>2469</c:v>
                </c:pt>
                <c:pt idx="248">
                  <c:v>2349</c:v>
                </c:pt>
                <c:pt idx="249">
                  <c:v>2417</c:v>
                </c:pt>
                <c:pt idx="250">
                  <c:v>2463</c:v>
                </c:pt>
                <c:pt idx="251">
                  <c:v>2420</c:v>
                </c:pt>
                <c:pt idx="252">
                  <c:v>2511</c:v>
                </c:pt>
                <c:pt idx="253">
                  <c:v>2384</c:v>
                </c:pt>
                <c:pt idx="254">
                  <c:v>2388</c:v>
                </c:pt>
                <c:pt idx="255">
                  <c:v>2247</c:v>
                </c:pt>
                <c:pt idx="256">
                  <c:v>2346</c:v>
                </c:pt>
                <c:pt idx="257">
                  <c:v>2250</c:v>
                </c:pt>
                <c:pt idx="258">
                  <c:v>2165</c:v>
                </c:pt>
                <c:pt idx="259">
                  <c:v>2234</c:v>
                </c:pt>
                <c:pt idx="260">
                  <c:v>2196</c:v>
                </c:pt>
                <c:pt idx="261">
                  <c:v>2300</c:v>
                </c:pt>
                <c:pt idx="262">
                  <c:v>2203</c:v>
                </c:pt>
                <c:pt idx="263">
                  <c:v>2312</c:v>
                </c:pt>
                <c:pt idx="264">
                  <c:v>2289</c:v>
                </c:pt>
                <c:pt idx="265">
                  <c:v>2184</c:v>
                </c:pt>
                <c:pt idx="266">
                  <c:v>2113</c:v>
                </c:pt>
                <c:pt idx="267">
                  <c:v>2170</c:v>
                </c:pt>
                <c:pt idx="268">
                  <c:v>2124</c:v>
                </c:pt>
                <c:pt idx="269">
                  <c:v>2135</c:v>
                </c:pt>
                <c:pt idx="270">
                  <c:v>2144</c:v>
                </c:pt>
                <c:pt idx="271">
                  <c:v>2034</c:v>
                </c:pt>
                <c:pt idx="272">
                  <c:v>2005</c:v>
                </c:pt>
                <c:pt idx="273">
                  <c:v>2036</c:v>
                </c:pt>
                <c:pt idx="274">
                  <c:v>2046</c:v>
                </c:pt>
                <c:pt idx="275">
                  <c:v>2013</c:v>
                </c:pt>
                <c:pt idx="276">
                  <c:v>1978</c:v>
                </c:pt>
                <c:pt idx="277">
                  <c:v>1928</c:v>
                </c:pt>
                <c:pt idx="278">
                  <c:v>1916</c:v>
                </c:pt>
                <c:pt idx="279">
                  <c:v>1901</c:v>
                </c:pt>
                <c:pt idx="280">
                  <c:v>1910</c:v>
                </c:pt>
                <c:pt idx="281">
                  <c:v>1867</c:v>
                </c:pt>
                <c:pt idx="282">
                  <c:v>1860</c:v>
                </c:pt>
                <c:pt idx="283">
                  <c:v>1784</c:v>
                </c:pt>
                <c:pt idx="284">
                  <c:v>1838</c:v>
                </c:pt>
                <c:pt idx="285">
                  <c:v>1802</c:v>
                </c:pt>
                <c:pt idx="286">
                  <c:v>1803</c:v>
                </c:pt>
                <c:pt idx="287">
                  <c:v>1731</c:v>
                </c:pt>
                <c:pt idx="288">
                  <c:v>1678</c:v>
                </c:pt>
                <c:pt idx="289">
                  <c:v>1695</c:v>
                </c:pt>
                <c:pt idx="290">
                  <c:v>1647</c:v>
                </c:pt>
                <c:pt idx="291">
                  <c:v>1599</c:v>
                </c:pt>
                <c:pt idx="292">
                  <c:v>1677</c:v>
                </c:pt>
                <c:pt idx="293">
                  <c:v>1567</c:v>
                </c:pt>
                <c:pt idx="294">
                  <c:v>1576</c:v>
                </c:pt>
                <c:pt idx="295">
                  <c:v>1572</c:v>
                </c:pt>
                <c:pt idx="296">
                  <c:v>1540</c:v>
                </c:pt>
                <c:pt idx="297">
                  <c:v>1516</c:v>
                </c:pt>
                <c:pt idx="298">
                  <c:v>1509</c:v>
                </c:pt>
                <c:pt idx="299">
                  <c:v>1460</c:v>
                </c:pt>
                <c:pt idx="300">
                  <c:v>1535</c:v>
                </c:pt>
                <c:pt idx="301">
                  <c:v>1555</c:v>
                </c:pt>
                <c:pt idx="302">
                  <c:v>1506</c:v>
                </c:pt>
                <c:pt idx="303">
                  <c:v>1444</c:v>
                </c:pt>
                <c:pt idx="304">
                  <c:v>1490</c:v>
                </c:pt>
                <c:pt idx="305">
                  <c:v>1416</c:v>
                </c:pt>
                <c:pt idx="306">
                  <c:v>1419</c:v>
                </c:pt>
                <c:pt idx="307">
                  <c:v>1391</c:v>
                </c:pt>
                <c:pt idx="308">
                  <c:v>1367</c:v>
                </c:pt>
                <c:pt idx="309">
                  <c:v>1447</c:v>
                </c:pt>
                <c:pt idx="310">
                  <c:v>1339</c:v>
                </c:pt>
                <c:pt idx="311">
                  <c:v>1350</c:v>
                </c:pt>
                <c:pt idx="312">
                  <c:v>1316</c:v>
                </c:pt>
                <c:pt idx="313">
                  <c:v>1276</c:v>
                </c:pt>
                <c:pt idx="314">
                  <c:v>1242</c:v>
                </c:pt>
                <c:pt idx="315">
                  <c:v>1242</c:v>
                </c:pt>
                <c:pt idx="316">
                  <c:v>1311</c:v>
                </c:pt>
                <c:pt idx="317">
                  <c:v>1274</c:v>
                </c:pt>
                <c:pt idx="318">
                  <c:v>1279</c:v>
                </c:pt>
                <c:pt idx="319">
                  <c:v>1159</c:v>
                </c:pt>
                <c:pt idx="320">
                  <c:v>1176</c:v>
                </c:pt>
                <c:pt idx="321">
                  <c:v>1174</c:v>
                </c:pt>
                <c:pt idx="322">
                  <c:v>1216</c:v>
                </c:pt>
                <c:pt idx="323">
                  <c:v>1088</c:v>
                </c:pt>
                <c:pt idx="324">
                  <c:v>1112</c:v>
                </c:pt>
                <c:pt idx="325">
                  <c:v>1088</c:v>
                </c:pt>
                <c:pt idx="326">
                  <c:v>1160</c:v>
                </c:pt>
                <c:pt idx="327">
                  <c:v>1092</c:v>
                </c:pt>
                <c:pt idx="328">
                  <c:v>1043</c:v>
                </c:pt>
                <c:pt idx="329">
                  <c:v>1096</c:v>
                </c:pt>
                <c:pt idx="330">
                  <c:v>969</c:v>
                </c:pt>
                <c:pt idx="331">
                  <c:v>973</c:v>
                </c:pt>
                <c:pt idx="332">
                  <c:v>1091</c:v>
                </c:pt>
                <c:pt idx="333">
                  <c:v>972</c:v>
                </c:pt>
                <c:pt idx="334">
                  <c:v>967</c:v>
                </c:pt>
                <c:pt idx="335">
                  <c:v>982</c:v>
                </c:pt>
                <c:pt idx="336">
                  <c:v>964</c:v>
                </c:pt>
                <c:pt idx="337">
                  <c:v>918</c:v>
                </c:pt>
                <c:pt idx="338">
                  <c:v>883</c:v>
                </c:pt>
                <c:pt idx="339">
                  <c:v>861</c:v>
                </c:pt>
                <c:pt idx="340">
                  <c:v>793</c:v>
                </c:pt>
                <c:pt idx="341">
                  <c:v>839</c:v>
                </c:pt>
                <c:pt idx="342">
                  <c:v>818</c:v>
                </c:pt>
                <c:pt idx="343">
                  <c:v>828</c:v>
                </c:pt>
                <c:pt idx="344">
                  <c:v>825</c:v>
                </c:pt>
                <c:pt idx="345">
                  <c:v>792</c:v>
                </c:pt>
                <c:pt idx="346">
                  <c:v>732</c:v>
                </c:pt>
                <c:pt idx="347">
                  <c:v>808</c:v>
                </c:pt>
                <c:pt idx="348">
                  <c:v>559</c:v>
                </c:pt>
                <c:pt idx="349">
                  <c:v>512</c:v>
                </c:pt>
                <c:pt idx="350">
                  <c:v>449</c:v>
                </c:pt>
                <c:pt idx="351">
                  <c:v>467</c:v>
                </c:pt>
                <c:pt idx="352">
                  <c:v>414</c:v>
                </c:pt>
                <c:pt idx="353">
                  <c:v>364</c:v>
                </c:pt>
                <c:pt idx="354">
                  <c:v>365</c:v>
                </c:pt>
                <c:pt idx="355">
                  <c:v>346</c:v>
                </c:pt>
                <c:pt idx="356">
                  <c:v>280</c:v>
                </c:pt>
                <c:pt idx="357">
                  <c:v>237</c:v>
                </c:pt>
                <c:pt idx="358">
                  <c:v>220</c:v>
                </c:pt>
                <c:pt idx="359">
                  <c:v>221</c:v>
                </c:pt>
                <c:pt idx="360">
                  <c:v>178</c:v>
                </c:pt>
                <c:pt idx="361">
                  <c:v>162</c:v>
                </c:pt>
                <c:pt idx="362">
                  <c:v>125</c:v>
                </c:pt>
                <c:pt idx="363">
                  <c:v>1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10318192"/>
        <c:axId val="510314272"/>
      </c:areaChart>
      <c:catAx>
        <c:axId val="510318192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0314272"/>
        <c:crosses val="autoZero"/>
        <c:auto val="1"/>
        <c:lblAlgn val="ctr"/>
        <c:lblOffset val="100"/>
        <c:noMultiLvlLbl val="0"/>
      </c:catAx>
      <c:valAx>
        <c:axId val="5103142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1031819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zh-CN" sz="1400" b="0" i="0" u="none" strike="noStrike" baseline="0" dirty="0" smtClean="0">
                <a:effectLst/>
              </a:rPr>
              <a:t>近一年</a:t>
            </a:r>
            <a:r>
              <a:rPr lang="zh-CN" altLang="en-US" dirty="0" smtClean="0"/>
              <a:t>用户最后两次消费间隔时间分布</a:t>
            </a:r>
            <a:endParaRPr lang="zh-CN" alt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用户最后两次消费间隔时间分布!$B$1</c:f>
              <c:strCache>
                <c:ptCount val="1"/>
                <c:pt idx="0">
                  <c:v>天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val>
            <c:numRef>
              <c:f>用户最后两次消费间隔时间分布!$B$2:$B$365</c:f>
              <c:numCache>
                <c:formatCode>General</c:formatCode>
                <c:ptCount val="36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  <c:pt idx="98">
                  <c:v>98</c:v>
                </c:pt>
                <c:pt idx="99">
                  <c:v>99</c:v>
                </c:pt>
                <c:pt idx="100">
                  <c:v>100</c:v>
                </c:pt>
                <c:pt idx="101">
                  <c:v>101</c:v>
                </c:pt>
                <c:pt idx="102">
                  <c:v>102</c:v>
                </c:pt>
                <c:pt idx="103">
                  <c:v>103</c:v>
                </c:pt>
                <c:pt idx="104">
                  <c:v>104</c:v>
                </c:pt>
                <c:pt idx="105">
                  <c:v>105</c:v>
                </c:pt>
                <c:pt idx="106">
                  <c:v>106</c:v>
                </c:pt>
                <c:pt idx="107">
                  <c:v>107</c:v>
                </c:pt>
                <c:pt idx="108">
                  <c:v>108</c:v>
                </c:pt>
                <c:pt idx="109">
                  <c:v>109</c:v>
                </c:pt>
                <c:pt idx="110">
                  <c:v>110</c:v>
                </c:pt>
                <c:pt idx="111">
                  <c:v>111</c:v>
                </c:pt>
                <c:pt idx="112">
                  <c:v>112</c:v>
                </c:pt>
                <c:pt idx="113">
                  <c:v>113</c:v>
                </c:pt>
                <c:pt idx="114">
                  <c:v>114</c:v>
                </c:pt>
                <c:pt idx="115">
                  <c:v>115</c:v>
                </c:pt>
                <c:pt idx="116">
                  <c:v>116</c:v>
                </c:pt>
                <c:pt idx="117">
                  <c:v>117</c:v>
                </c:pt>
                <c:pt idx="118">
                  <c:v>118</c:v>
                </c:pt>
                <c:pt idx="119">
                  <c:v>119</c:v>
                </c:pt>
                <c:pt idx="120">
                  <c:v>120</c:v>
                </c:pt>
                <c:pt idx="121">
                  <c:v>121</c:v>
                </c:pt>
                <c:pt idx="122">
                  <c:v>122</c:v>
                </c:pt>
                <c:pt idx="123">
                  <c:v>123</c:v>
                </c:pt>
                <c:pt idx="124">
                  <c:v>124</c:v>
                </c:pt>
                <c:pt idx="125">
                  <c:v>125</c:v>
                </c:pt>
                <c:pt idx="126">
                  <c:v>126</c:v>
                </c:pt>
                <c:pt idx="127">
                  <c:v>127</c:v>
                </c:pt>
                <c:pt idx="128">
                  <c:v>128</c:v>
                </c:pt>
                <c:pt idx="129">
                  <c:v>129</c:v>
                </c:pt>
                <c:pt idx="130">
                  <c:v>130</c:v>
                </c:pt>
                <c:pt idx="131">
                  <c:v>131</c:v>
                </c:pt>
                <c:pt idx="132">
                  <c:v>132</c:v>
                </c:pt>
                <c:pt idx="133">
                  <c:v>133</c:v>
                </c:pt>
                <c:pt idx="134">
                  <c:v>134</c:v>
                </c:pt>
                <c:pt idx="135">
                  <c:v>135</c:v>
                </c:pt>
                <c:pt idx="136">
                  <c:v>136</c:v>
                </c:pt>
                <c:pt idx="137">
                  <c:v>137</c:v>
                </c:pt>
                <c:pt idx="138">
                  <c:v>138</c:v>
                </c:pt>
                <c:pt idx="139">
                  <c:v>139</c:v>
                </c:pt>
                <c:pt idx="140">
                  <c:v>140</c:v>
                </c:pt>
                <c:pt idx="141">
                  <c:v>141</c:v>
                </c:pt>
                <c:pt idx="142">
                  <c:v>142</c:v>
                </c:pt>
                <c:pt idx="143">
                  <c:v>143</c:v>
                </c:pt>
                <c:pt idx="144">
                  <c:v>144</c:v>
                </c:pt>
                <c:pt idx="145">
                  <c:v>145</c:v>
                </c:pt>
                <c:pt idx="146">
                  <c:v>146</c:v>
                </c:pt>
                <c:pt idx="147">
                  <c:v>147</c:v>
                </c:pt>
                <c:pt idx="148">
                  <c:v>148</c:v>
                </c:pt>
                <c:pt idx="149">
                  <c:v>149</c:v>
                </c:pt>
                <c:pt idx="150">
                  <c:v>150</c:v>
                </c:pt>
                <c:pt idx="151">
                  <c:v>151</c:v>
                </c:pt>
                <c:pt idx="152">
                  <c:v>152</c:v>
                </c:pt>
                <c:pt idx="153">
                  <c:v>153</c:v>
                </c:pt>
                <c:pt idx="154">
                  <c:v>154</c:v>
                </c:pt>
                <c:pt idx="155">
                  <c:v>155</c:v>
                </c:pt>
                <c:pt idx="156">
                  <c:v>156</c:v>
                </c:pt>
                <c:pt idx="157">
                  <c:v>157</c:v>
                </c:pt>
                <c:pt idx="158">
                  <c:v>158</c:v>
                </c:pt>
                <c:pt idx="159">
                  <c:v>159</c:v>
                </c:pt>
                <c:pt idx="160">
                  <c:v>160</c:v>
                </c:pt>
                <c:pt idx="161">
                  <c:v>161</c:v>
                </c:pt>
                <c:pt idx="162">
                  <c:v>162</c:v>
                </c:pt>
                <c:pt idx="163">
                  <c:v>163</c:v>
                </c:pt>
                <c:pt idx="164">
                  <c:v>164</c:v>
                </c:pt>
                <c:pt idx="165">
                  <c:v>165</c:v>
                </c:pt>
                <c:pt idx="166">
                  <c:v>166</c:v>
                </c:pt>
                <c:pt idx="167">
                  <c:v>167</c:v>
                </c:pt>
                <c:pt idx="168">
                  <c:v>168</c:v>
                </c:pt>
                <c:pt idx="169">
                  <c:v>169</c:v>
                </c:pt>
                <c:pt idx="170">
                  <c:v>170</c:v>
                </c:pt>
                <c:pt idx="171">
                  <c:v>171</c:v>
                </c:pt>
                <c:pt idx="172">
                  <c:v>172</c:v>
                </c:pt>
                <c:pt idx="173">
                  <c:v>173</c:v>
                </c:pt>
                <c:pt idx="174">
                  <c:v>174</c:v>
                </c:pt>
                <c:pt idx="175">
                  <c:v>175</c:v>
                </c:pt>
                <c:pt idx="176">
                  <c:v>176</c:v>
                </c:pt>
                <c:pt idx="177">
                  <c:v>177</c:v>
                </c:pt>
                <c:pt idx="178">
                  <c:v>178</c:v>
                </c:pt>
                <c:pt idx="179">
                  <c:v>179</c:v>
                </c:pt>
                <c:pt idx="180">
                  <c:v>180</c:v>
                </c:pt>
                <c:pt idx="181">
                  <c:v>181</c:v>
                </c:pt>
                <c:pt idx="182">
                  <c:v>182</c:v>
                </c:pt>
                <c:pt idx="183">
                  <c:v>183</c:v>
                </c:pt>
                <c:pt idx="184">
                  <c:v>184</c:v>
                </c:pt>
                <c:pt idx="185">
                  <c:v>185</c:v>
                </c:pt>
                <c:pt idx="186">
                  <c:v>186</c:v>
                </c:pt>
                <c:pt idx="187">
                  <c:v>187</c:v>
                </c:pt>
                <c:pt idx="188">
                  <c:v>188</c:v>
                </c:pt>
                <c:pt idx="189">
                  <c:v>189</c:v>
                </c:pt>
                <c:pt idx="190">
                  <c:v>190</c:v>
                </c:pt>
                <c:pt idx="191">
                  <c:v>191</c:v>
                </c:pt>
                <c:pt idx="192">
                  <c:v>192</c:v>
                </c:pt>
                <c:pt idx="193">
                  <c:v>193</c:v>
                </c:pt>
                <c:pt idx="194">
                  <c:v>194</c:v>
                </c:pt>
                <c:pt idx="195">
                  <c:v>195</c:v>
                </c:pt>
                <c:pt idx="196">
                  <c:v>196</c:v>
                </c:pt>
                <c:pt idx="197">
                  <c:v>197</c:v>
                </c:pt>
                <c:pt idx="198">
                  <c:v>198</c:v>
                </c:pt>
                <c:pt idx="199">
                  <c:v>199</c:v>
                </c:pt>
                <c:pt idx="200">
                  <c:v>200</c:v>
                </c:pt>
                <c:pt idx="201">
                  <c:v>201</c:v>
                </c:pt>
                <c:pt idx="202">
                  <c:v>202</c:v>
                </c:pt>
                <c:pt idx="203">
                  <c:v>203</c:v>
                </c:pt>
                <c:pt idx="204">
                  <c:v>204</c:v>
                </c:pt>
                <c:pt idx="205">
                  <c:v>205</c:v>
                </c:pt>
                <c:pt idx="206">
                  <c:v>206</c:v>
                </c:pt>
                <c:pt idx="207">
                  <c:v>207</c:v>
                </c:pt>
                <c:pt idx="208">
                  <c:v>208</c:v>
                </c:pt>
                <c:pt idx="209">
                  <c:v>209</c:v>
                </c:pt>
                <c:pt idx="210">
                  <c:v>210</c:v>
                </c:pt>
                <c:pt idx="211">
                  <c:v>211</c:v>
                </c:pt>
                <c:pt idx="212">
                  <c:v>212</c:v>
                </c:pt>
                <c:pt idx="213">
                  <c:v>213</c:v>
                </c:pt>
                <c:pt idx="214">
                  <c:v>214</c:v>
                </c:pt>
                <c:pt idx="215">
                  <c:v>215</c:v>
                </c:pt>
                <c:pt idx="216">
                  <c:v>216</c:v>
                </c:pt>
                <c:pt idx="217">
                  <c:v>217</c:v>
                </c:pt>
                <c:pt idx="218">
                  <c:v>218</c:v>
                </c:pt>
                <c:pt idx="219">
                  <c:v>219</c:v>
                </c:pt>
                <c:pt idx="220">
                  <c:v>220</c:v>
                </c:pt>
                <c:pt idx="221">
                  <c:v>221</c:v>
                </c:pt>
                <c:pt idx="222">
                  <c:v>222</c:v>
                </c:pt>
                <c:pt idx="223">
                  <c:v>223</c:v>
                </c:pt>
                <c:pt idx="224">
                  <c:v>224</c:v>
                </c:pt>
                <c:pt idx="225">
                  <c:v>225</c:v>
                </c:pt>
                <c:pt idx="226">
                  <c:v>226</c:v>
                </c:pt>
                <c:pt idx="227">
                  <c:v>227</c:v>
                </c:pt>
                <c:pt idx="228">
                  <c:v>228</c:v>
                </c:pt>
                <c:pt idx="229">
                  <c:v>229</c:v>
                </c:pt>
                <c:pt idx="230">
                  <c:v>230</c:v>
                </c:pt>
                <c:pt idx="231">
                  <c:v>231</c:v>
                </c:pt>
                <c:pt idx="232">
                  <c:v>232</c:v>
                </c:pt>
                <c:pt idx="233">
                  <c:v>233</c:v>
                </c:pt>
                <c:pt idx="234">
                  <c:v>234</c:v>
                </c:pt>
                <c:pt idx="235">
                  <c:v>235</c:v>
                </c:pt>
                <c:pt idx="236">
                  <c:v>236</c:v>
                </c:pt>
                <c:pt idx="237">
                  <c:v>237</c:v>
                </c:pt>
                <c:pt idx="238">
                  <c:v>238</c:v>
                </c:pt>
                <c:pt idx="239">
                  <c:v>239</c:v>
                </c:pt>
                <c:pt idx="240">
                  <c:v>240</c:v>
                </c:pt>
                <c:pt idx="241">
                  <c:v>241</c:v>
                </c:pt>
                <c:pt idx="242">
                  <c:v>242</c:v>
                </c:pt>
                <c:pt idx="243">
                  <c:v>243</c:v>
                </c:pt>
                <c:pt idx="244">
                  <c:v>244</c:v>
                </c:pt>
                <c:pt idx="245">
                  <c:v>245</c:v>
                </c:pt>
                <c:pt idx="246">
                  <c:v>246</c:v>
                </c:pt>
                <c:pt idx="247">
                  <c:v>247</c:v>
                </c:pt>
                <c:pt idx="248">
                  <c:v>248</c:v>
                </c:pt>
                <c:pt idx="249">
                  <c:v>249</c:v>
                </c:pt>
                <c:pt idx="250">
                  <c:v>250</c:v>
                </c:pt>
                <c:pt idx="251">
                  <c:v>251</c:v>
                </c:pt>
                <c:pt idx="252">
                  <c:v>252</c:v>
                </c:pt>
                <c:pt idx="253">
                  <c:v>253</c:v>
                </c:pt>
                <c:pt idx="254">
                  <c:v>254</c:v>
                </c:pt>
                <c:pt idx="255">
                  <c:v>255</c:v>
                </c:pt>
                <c:pt idx="256">
                  <c:v>256</c:v>
                </c:pt>
                <c:pt idx="257">
                  <c:v>257</c:v>
                </c:pt>
                <c:pt idx="258">
                  <c:v>258</c:v>
                </c:pt>
                <c:pt idx="259">
                  <c:v>259</c:v>
                </c:pt>
                <c:pt idx="260">
                  <c:v>260</c:v>
                </c:pt>
                <c:pt idx="261">
                  <c:v>261</c:v>
                </c:pt>
                <c:pt idx="262">
                  <c:v>262</c:v>
                </c:pt>
                <c:pt idx="263">
                  <c:v>263</c:v>
                </c:pt>
                <c:pt idx="264">
                  <c:v>264</c:v>
                </c:pt>
                <c:pt idx="265">
                  <c:v>265</c:v>
                </c:pt>
                <c:pt idx="266">
                  <c:v>266</c:v>
                </c:pt>
                <c:pt idx="267">
                  <c:v>267</c:v>
                </c:pt>
                <c:pt idx="268">
                  <c:v>268</c:v>
                </c:pt>
                <c:pt idx="269">
                  <c:v>269</c:v>
                </c:pt>
                <c:pt idx="270">
                  <c:v>270</c:v>
                </c:pt>
                <c:pt idx="271">
                  <c:v>271</c:v>
                </c:pt>
                <c:pt idx="272">
                  <c:v>272</c:v>
                </c:pt>
                <c:pt idx="273">
                  <c:v>273</c:v>
                </c:pt>
                <c:pt idx="274">
                  <c:v>274</c:v>
                </c:pt>
                <c:pt idx="275">
                  <c:v>275</c:v>
                </c:pt>
                <c:pt idx="276">
                  <c:v>276</c:v>
                </c:pt>
                <c:pt idx="277">
                  <c:v>277</c:v>
                </c:pt>
                <c:pt idx="278">
                  <c:v>278</c:v>
                </c:pt>
                <c:pt idx="279">
                  <c:v>279</c:v>
                </c:pt>
                <c:pt idx="280">
                  <c:v>280</c:v>
                </c:pt>
                <c:pt idx="281">
                  <c:v>281</c:v>
                </c:pt>
                <c:pt idx="282">
                  <c:v>282</c:v>
                </c:pt>
                <c:pt idx="283">
                  <c:v>283</c:v>
                </c:pt>
                <c:pt idx="284">
                  <c:v>284</c:v>
                </c:pt>
                <c:pt idx="285">
                  <c:v>285</c:v>
                </c:pt>
                <c:pt idx="286">
                  <c:v>286</c:v>
                </c:pt>
                <c:pt idx="287">
                  <c:v>287</c:v>
                </c:pt>
                <c:pt idx="288">
                  <c:v>288</c:v>
                </c:pt>
                <c:pt idx="289">
                  <c:v>289</c:v>
                </c:pt>
                <c:pt idx="290">
                  <c:v>290</c:v>
                </c:pt>
                <c:pt idx="291">
                  <c:v>291</c:v>
                </c:pt>
                <c:pt idx="292">
                  <c:v>292</c:v>
                </c:pt>
                <c:pt idx="293">
                  <c:v>293</c:v>
                </c:pt>
                <c:pt idx="294">
                  <c:v>294</c:v>
                </c:pt>
                <c:pt idx="295">
                  <c:v>295</c:v>
                </c:pt>
                <c:pt idx="296">
                  <c:v>296</c:v>
                </c:pt>
                <c:pt idx="297">
                  <c:v>297</c:v>
                </c:pt>
                <c:pt idx="298">
                  <c:v>298</c:v>
                </c:pt>
                <c:pt idx="299">
                  <c:v>299</c:v>
                </c:pt>
                <c:pt idx="300">
                  <c:v>300</c:v>
                </c:pt>
                <c:pt idx="301">
                  <c:v>301</c:v>
                </c:pt>
                <c:pt idx="302">
                  <c:v>302</c:v>
                </c:pt>
                <c:pt idx="303">
                  <c:v>303</c:v>
                </c:pt>
                <c:pt idx="304">
                  <c:v>304</c:v>
                </c:pt>
                <c:pt idx="305">
                  <c:v>305</c:v>
                </c:pt>
                <c:pt idx="306">
                  <c:v>306</c:v>
                </c:pt>
                <c:pt idx="307">
                  <c:v>307</c:v>
                </c:pt>
                <c:pt idx="308">
                  <c:v>308</c:v>
                </c:pt>
                <c:pt idx="309">
                  <c:v>309</c:v>
                </c:pt>
                <c:pt idx="310">
                  <c:v>310</c:v>
                </c:pt>
                <c:pt idx="311">
                  <c:v>311</c:v>
                </c:pt>
                <c:pt idx="312">
                  <c:v>312</c:v>
                </c:pt>
                <c:pt idx="313">
                  <c:v>313</c:v>
                </c:pt>
                <c:pt idx="314">
                  <c:v>314</c:v>
                </c:pt>
                <c:pt idx="315">
                  <c:v>315</c:v>
                </c:pt>
                <c:pt idx="316">
                  <c:v>316</c:v>
                </c:pt>
                <c:pt idx="317">
                  <c:v>317</c:v>
                </c:pt>
                <c:pt idx="318">
                  <c:v>318</c:v>
                </c:pt>
                <c:pt idx="319">
                  <c:v>319</c:v>
                </c:pt>
                <c:pt idx="320">
                  <c:v>320</c:v>
                </c:pt>
                <c:pt idx="321">
                  <c:v>321</c:v>
                </c:pt>
                <c:pt idx="322">
                  <c:v>322</c:v>
                </c:pt>
                <c:pt idx="323">
                  <c:v>323</c:v>
                </c:pt>
                <c:pt idx="324">
                  <c:v>324</c:v>
                </c:pt>
                <c:pt idx="325">
                  <c:v>325</c:v>
                </c:pt>
                <c:pt idx="326">
                  <c:v>326</c:v>
                </c:pt>
                <c:pt idx="327">
                  <c:v>327</c:v>
                </c:pt>
                <c:pt idx="328">
                  <c:v>328</c:v>
                </c:pt>
                <c:pt idx="329">
                  <c:v>329</c:v>
                </c:pt>
                <c:pt idx="330">
                  <c:v>330</c:v>
                </c:pt>
                <c:pt idx="331">
                  <c:v>331</c:v>
                </c:pt>
                <c:pt idx="332">
                  <c:v>332</c:v>
                </c:pt>
                <c:pt idx="333">
                  <c:v>333</c:v>
                </c:pt>
                <c:pt idx="334">
                  <c:v>334</c:v>
                </c:pt>
                <c:pt idx="335">
                  <c:v>335</c:v>
                </c:pt>
                <c:pt idx="336">
                  <c:v>336</c:v>
                </c:pt>
                <c:pt idx="337">
                  <c:v>337</c:v>
                </c:pt>
                <c:pt idx="338">
                  <c:v>338</c:v>
                </c:pt>
                <c:pt idx="339">
                  <c:v>339</c:v>
                </c:pt>
                <c:pt idx="340">
                  <c:v>340</c:v>
                </c:pt>
                <c:pt idx="341">
                  <c:v>341</c:v>
                </c:pt>
                <c:pt idx="342">
                  <c:v>342</c:v>
                </c:pt>
                <c:pt idx="343">
                  <c:v>343</c:v>
                </c:pt>
                <c:pt idx="344">
                  <c:v>344</c:v>
                </c:pt>
                <c:pt idx="345">
                  <c:v>345</c:v>
                </c:pt>
                <c:pt idx="346">
                  <c:v>346</c:v>
                </c:pt>
                <c:pt idx="347">
                  <c:v>347</c:v>
                </c:pt>
                <c:pt idx="348">
                  <c:v>348</c:v>
                </c:pt>
                <c:pt idx="349">
                  <c:v>349</c:v>
                </c:pt>
                <c:pt idx="350">
                  <c:v>350</c:v>
                </c:pt>
                <c:pt idx="351">
                  <c:v>351</c:v>
                </c:pt>
                <c:pt idx="352">
                  <c:v>352</c:v>
                </c:pt>
                <c:pt idx="353">
                  <c:v>353</c:v>
                </c:pt>
                <c:pt idx="354">
                  <c:v>354</c:v>
                </c:pt>
                <c:pt idx="355">
                  <c:v>355</c:v>
                </c:pt>
                <c:pt idx="356">
                  <c:v>356</c:v>
                </c:pt>
                <c:pt idx="357">
                  <c:v>357</c:v>
                </c:pt>
                <c:pt idx="358">
                  <c:v>358</c:v>
                </c:pt>
                <c:pt idx="359">
                  <c:v>359</c:v>
                </c:pt>
                <c:pt idx="360">
                  <c:v>360</c:v>
                </c:pt>
                <c:pt idx="361">
                  <c:v>361</c:v>
                </c:pt>
                <c:pt idx="362">
                  <c:v>362</c:v>
                </c:pt>
                <c:pt idx="363">
                  <c:v>363</c:v>
                </c:pt>
              </c:numCache>
            </c:numRef>
          </c:val>
        </c:ser>
        <c:ser>
          <c:idx val="1"/>
          <c:order val="1"/>
          <c:tx>
            <c:strRef>
              <c:f>用户最后两次消费间隔时间分布!$C$1</c:f>
              <c:strCache>
                <c:ptCount val="1"/>
                <c:pt idx="0">
                  <c:v>人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val>
            <c:numRef>
              <c:f>用户最后两次消费间隔时间分布!$C$2:$C$365</c:f>
              <c:numCache>
                <c:formatCode>General</c:formatCode>
                <c:ptCount val="364"/>
                <c:pt idx="0">
                  <c:v>2680365</c:v>
                </c:pt>
                <c:pt idx="1">
                  <c:v>1406801</c:v>
                </c:pt>
                <c:pt idx="2">
                  <c:v>963869</c:v>
                </c:pt>
                <c:pt idx="3">
                  <c:v>778268</c:v>
                </c:pt>
                <c:pt idx="4">
                  <c:v>669543</c:v>
                </c:pt>
                <c:pt idx="5">
                  <c:v>592563</c:v>
                </c:pt>
                <c:pt idx="6">
                  <c:v>541091</c:v>
                </c:pt>
                <c:pt idx="7">
                  <c:v>500805</c:v>
                </c:pt>
                <c:pt idx="8">
                  <c:v>446669</c:v>
                </c:pt>
                <c:pt idx="9">
                  <c:v>405613</c:v>
                </c:pt>
                <c:pt idx="10">
                  <c:v>375449</c:v>
                </c:pt>
                <c:pt idx="11">
                  <c:v>348188</c:v>
                </c:pt>
                <c:pt idx="12">
                  <c:v>327657</c:v>
                </c:pt>
                <c:pt idx="13">
                  <c:v>310714</c:v>
                </c:pt>
                <c:pt idx="14">
                  <c:v>297676</c:v>
                </c:pt>
                <c:pt idx="15">
                  <c:v>274211</c:v>
                </c:pt>
                <c:pt idx="16">
                  <c:v>254424</c:v>
                </c:pt>
                <c:pt idx="17">
                  <c:v>240800</c:v>
                </c:pt>
                <c:pt idx="18">
                  <c:v>228711</c:v>
                </c:pt>
                <c:pt idx="19">
                  <c:v>220123</c:v>
                </c:pt>
                <c:pt idx="20">
                  <c:v>214344</c:v>
                </c:pt>
                <c:pt idx="21">
                  <c:v>208457</c:v>
                </c:pt>
                <c:pt idx="22">
                  <c:v>195502</c:v>
                </c:pt>
                <c:pt idx="23">
                  <c:v>186930</c:v>
                </c:pt>
                <c:pt idx="24">
                  <c:v>179561</c:v>
                </c:pt>
                <c:pt idx="25">
                  <c:v>174150</c:v>
                </c:pt>
                <c:pt idx="26">
                  <c:v>169370</c:v>
                </c:pt>
                <c:pt idx="27">
                  <c:v>166471</c:v>
                </c:pt>
                <c:pt idx="28">
                  <c:v>164796</c:v>
                </c:pt>
                <c:pt idx="29">
                  <c:v>158362</c:v>
                </c:pt>
                <c:pt idx="30">
                  <c:v>156059</c:v>
                </c:pt>
                <c:pt idx="31">
                  <c:v>155120</c:v>
                </c:pt>
                <c:pt idx="32">
                  <c:v>139341</c:v>
                </c:pt>
                <c:pt idx="33">
                  <c:v>133351</c:v>
                </c:pt>
                <c:pt idx="34">
                  <c:v>130750</c:v>
                </c:pt>
                <c:pt idx="35">
                  <c:v>127863</c:v>
                </c:pt>
                <c:pt idx="36">
                  <c:v>122105</c:v>
                </c:pt>
                <c:pt idx="37">
                  <c:v>117778</c:v>
                </c:pt>
                <c:pt idx="38">
                  <c:v>113651</c:v>
                </c:pt>
                <c:pt idx="39">
                  <c:v>110324</c:v>
                </c:pt>
                <c:pt idx="40">
                  <c:v>108375</c:v>
                </c:pt>
                <c:pt idx="41">
                  <c:v>107283</c:v>
                </c:pt>
                <c:pt idx="42">
                  <c:v>104532</c:v>
                </c:pt>
                <c:pt idx="43">
                  <c:v>101056</c:v>
                </c:pt>
                <c:pt idx="44">
                  <c:v>96707</c:v>
                </c:pt>
                <c:pt idx="45">
                  <c:v>92663</c:v>
                </c:pt>
                <c:pt idx="46">
                  <c:v>90326</c:v>
                </c:pt>
                <c:pt idx="47">
                  <c:v>88811</c:v>
                </c:pt>
                <c:pt idx="48">
                  <c:v>87289</c:v>
                </c:pt>
                <c:pt idx="49">
                  <c:v>86565</c:v>
                </c:pt>
                <c:pt idx="50">
                  <c:v>83761</c:v>
                </c:pt>
                <c:pt idx="51">
                  <c:v>81498</c:v>
                </c:pt>
                <c:pt idx="52">
                  <c:v>78138</c:v>
                </c:pt>
                <c:pt idx="53">
                  <c:v>76434</c:v>
                </c:pt>
                <c:pt idx="54">
                  <c:v>75233</c:v>
                </c:pt>
                <c:pt idx="55">
                  <c:v>74361</c:v>
                </c:pt>
                <c:pt idx="56">
                  <c:v>74664</c:v>
                </c:pt>
                <c:pt idx="57">
                  <c:v>72556</c:v>
                </c:pt>
                <c:pt idx="58">
                  <c:v>70639</c:v>
                </c:pt>
                <c:pt idx="59">
                  <c:v>69254</c:v>
                </c:pt>
                <c:pt idx="60">
                  <c:v>67237</c:v>
                </c:pt>
                <c:pt idx="61">
                  <c:v>66216</c:v>
                </c:pt>
                <c:pt idx="62">
                  <c:v>65611</c:v>
                </c:pt>
                <c:pt idx="63">
                  <c:v>65196</c:v>
                </c:pt>
                <c:pt idx="64">
                  <c:v>62560</c:v>
                </c:pt>
                <c:pt idx="65">
                  <c:v>60714</c:v>
                </c:pt>
                <c:pt idx="66">
                  <c:v>59915</c:v>
                </c:pt>
                <c:pt idx="67">
                  <c:v>58134</c:v>
                </c:pt>
                <c:pt idx="68">
                  <c:v>57658</c:v>
                </c:pt>
                <c:pt idx="69">
                  <c:v>57151</c:v>
                </c:pt>
                <c:pt idx="70">
                  <c:v>57163</c:v>
                </c:pt>
                <c:pt idx="71">
                  <c:v>55750</c:v>
                </c:pt>
                <c:pt idx="72">
                  <c:v>54052</c:v>
                </c:pt>
                <c:pt idx="73">
                  <c:v>52589</c:v>
                </c:pt>
                <c:pt idx="74">
                  <c:v>52589</c:v>
                </c:pt>
                <c:pt idx="75">
                  <c:v>51059</c:v>
                </c:pt>
                <c:pt idx="76">
                  <c:v>51436</c:v>
                </c:pt>
                <c:pt idx="77">
                  <c:v>51114</c:v>
                </c:pt>
                <c:pt idx="78">
                  <c:v>49365</c:v>
                </c:pt>
                <c:pt idx="79">
                  <c:v>48003</c:v>
                </c:pt>
                <c:pt idx="80">
                  <c:v>47101</c:v>
                </c:pt>
                <c:pt idx="81">
                  <c:v>46883</c:v>
                </c:pt>
                <c:pt idx="82">
                  <c:v>46074</c:v>
                </c:pt>
                <c:pt idx="83">
                  <c:v>46093</c:v>
                </c:pt>
                <c:pt idx="84">
                  <c:v>46105</c:v>
                </c:pt>
                <c:pt idx="85">
                  <c:v>45147</c:v>
                </c:pt>
                <c:pt idx="86">
                  <c:v>43773</c:v>
                </c:pt>
                <c:pt idx="87">
                  <c:v>42990</c:v>
                </c:pt>
                <c:pt idx="88">
                  <c:v>42319</c:v>
                </c:pt>
                <c:pt idx="89">
                  <c:v>42042</c:v>
                </c:pt>
                <c:pt idx="90">
                  <c:v>40734</c:v>
                </c:pt>
                <c:pt idx="91">
                  <c:v>40507</c:v>
                </c:pt>
                <c:pt idx="92">
                  <c:v>39798</c:v>
                </c:pt>
                <c:pt idx="93">
                  <c:v>38149</c:v>
                </c:pt>
                <c:pt idx="94">
                  <c:v>37280</c:v>
                </c:pt>
                <c:pt idx="95">
                  <c:v>36426</c:v>
                </c:pt>
                <c:pt idx="96">
                  <c:v>35662</c:v>
                </c:pt>
                <c:pt idx="97">
                  <c:v>35306</c:v>
                </c:pt>
                <c:pt idx="98">
                  <c:v>35825</c:v>
                </c:pt>
                <c:pt idx="99">
                  <c:v>35147</c:v>
                </c:pt>
                <c:pt idx="100">
                  <c:v>34924</c:v>
                </c:pt>
                <c:pt idx="101">
                  <c:v>34365</c:v>
                </c:pt>
                <c:pt idx="102">
                  <c:v>34519</c:v>
                </c:pt>
                <c:pt idx="103">
                  <c:v>34303</c:v>
                </c:pt>
                <c:pt idx="104">
                  <c:v>34913</c:v>
                </c:pt>
                <c:pt idx="105">
                  <c:v>34896</c:v>
                </c:pt>
                <c:pt idx="106">
                  <c:v>34723</c:v>
                </c:pt>
                <c:pt idx="107">
                  <c:v>34088</c:v>
                </c:pt>
                <c:pt idx="108">
                  <c:v>33815</c:v>
                </c:pt>
                <c:pt idx="109">
                  <c:v>33644</c:v>
                </c:pt>
                <c:pt idx="110">
                  <c:v>33213</c:v>
                </c:pt>
                <c:pt idx="111">
                  <c:v>33016</c:v>
                </c:pt>
                <c:pt idx="112">
                  <c:v>33029</c:v>
                </c:pt>
                <c:pt idx="113">
                  <c:v>32405</c:v>
                </c:pt>
                <c:pt idx="114">
                  <c:v>31877</c:v>
                </c:pt>
                <c:pt idx="115">
                  <c:v>31327</c:v>
                </c:pt>
                <c:pt idx="116">
                  <c:v>30876</c:v>
                </c:pt>
                <c:pt idx="117">
                  <c:v>30804</c:v>
                </c:pt>
                <c:pt idx="118">
                  <c:v>30312</c:v>
                </c:pt>
                <c:pt idx="119">
                  <c:v>30309</c:v>
                </c:pt>
                <c:pt idx="120">
                  <c:v>29770</c:v>
                </c:pt>
                <c:pt idx="121">
                  <c:v>28958</c:v>
                </c:pt>
                <c:pt idx="122">
                  <c:v>28396</c:v>
                </c:pt>
                <c:pt idx="123">
                  <c:v>28155</c:v>
                </c:pt>
                <c:pt idx="124">
                  <c:v>27931</c:v>
                </c:pt>
                <c:pt idx="125">
                  <c:v>26734</c:v>
                </c:pt>
                <c:pt idx="126">
                  <c:v>26723</c:v>
                </c:pt>
                <c:pt idx="127">
                  <c:v>25936</c:v>
                </c:pt>
                <c:pt idx="128">
                  <c:v>25844</c:v>
                </c:pt>
                <c:pt idx="129">
                  <c:v>25309</c:v>
                </c:pt>
                <c:pt idx="130">
                  <c:v>24341</c:v>
                </c:pt>
                <c:pt idx="131">
                  <c:v>24194</c:v>
                </c:pt>
                <c:pt idx="132">
                  <c:v>24425</c:v>
                </c:pt>
                <c:pt idx="133">
                  <c:v>24080</c:v>
                </c:pt>
                <c:pt idx="134">
                  <c:v>23971</c:v>
                </c:pt>
                <c:pt idx="135">
                  <c:v>23192</c:v>
                </c:pt>
                <c:pt idx="136">
                  <c:v>23805</c:v>
                </c:pt>
                <c:pt idx="137">
                  <c:v>22930</c:v>
                </c:pt>
                <c:pt idx="138">
                  <c:v>22523</c:v>
                </c:pt>
                <c:pt idx="139">
                  <c:v>22634</c:v>
                </c:pt>
                <c:pt idx="140">
                  <c:v>22682</c:v>
                </c:pt>
                <c:pt idx="141">
                  <c:v>22192</c:v>
                </c:pt>
                <c:pt idx="142">
                  <c:v>21794</c:v>
                </c:pt>
                <c:pt idx="143">
                  <c:v>21530</c:v>
                </c:pt>
                <c:pt idx="144">
                  <c:v>21484</c:v>
                </c:pt>
                <c:pt idx="145">
                  <c:v>22199</c:v>
                </c:pt>
                <c:pt idx="146">
                  <c:v>25999</c:v>
                </c:pt>
                <c:pt idx="147">
                  <c:v>21663</c:v>
                </c:pt>
                <c:pt idx="148">
                  <c:v>20474</c:v>
                </c:pt>
                <c:pt idx="149">
                  <c:v>19912</c:v>
                </c:pt>
                <c:pt idx="150">
                  <c:v>20012</c:v>
                </c:pt>
                <c:pt idx="151">
                  <c:v>19637</c:v>
                </c:pt>
                <c:pt idx="152">
                  <c:v>19567</c:v>
                </c:pt>
                <c:pt idx="153">
                  <c:v>19695</c:v>
                </c:pt>
                <c:pt idx="154">
                  <c:v>19638</c:v>
                </c:pt>
                <c:pt idx="155">
                  <c:v>19322</c:v>
                </c:pt>
                <c:pt idx="156">
                  <c:v>18675</c:v>
                </c:pt>
                <c:pt idx="157">
                  <c:v>18519</c:v>
                </c:pt>
                <c:pt idx="158">
                  <c:v>18423</c:v>
                </c:pt>
                <c:pt idx="159">
                  <c:v>17880</c:v>
                </c:pt>
                <c:pt idx="160">
                  <c:v>17721</c:v>
                </c:pt>
                <c:pt idx="161">
                  <c:v>17756</c:v>
                </c:pt>
                <c:pt idx="162">
                  <c:v>17144</c:v>
                </c:pt>
                <c:pt idx="163">
                  <c:v>17280</c:v>
                </c:pt>
                <c:pt idx="164">
                  <c:v>16016</c:v>
                </c:pt>
                <c:pt idx="165">
                  <c:v>15879</c:v>
                </c:pt>
                <c:pt idx="166">
                  <c:v>15762</c:v>
                </c:pt>
                <c:pt idx="167">
                  <c:v>15539</c:v>
                </c:pt>
                <c:pt idx="168">
                  <c:v>15650</c:v>
                </c:pt>
                <c:pt idx="169">
                  <c:v>15180</c:v>
                </c:pt>
                <c:pt idx="170">
                  <c:v>15169</c:v>
                </c:pt>
                <c:pt idx="171">
                  <c:v>14362</c:v>
                </c:pt>
                <c:pt idx="172">
                  <c:v>13742</c:v>
                </c:pt>
                <c:pt idx="173">
                  <c:v>13570</c:v>
                </c:pt>
                <c:pt idx="174">
                  <c:v>13685</c:v>
                </c:pt>
                <c:pt idx="175">
                  <c:v>13823</c:v>
                </c:pt>
                <c:pt idx="176">
                  <c:v>13632</c:v>
                </c:pt>
                <c:pt idx="177">
                  <c:v>14483</c:v>
                </c:pt>
                <c:pt idx="178">
                  <c:v>13182</c:v>
                </c:pt>
                <c:pt idx="179">
                  <c:v>13084</c:v>
                </c:pt>
                <c:pt idx="180">
                  <c:v>13014</c:v>
                </c:pt>
                <c:pt idx="181">
                  <c:v>13321</c:v>
                </c:pt>
                <c:pt idx="182">
                  <c:v>13006</c:v>
                </c:pt>
                <c:pt idx="183">
                  <c:v>12987</c:v>
                </c:pt>
                <c:pt idx="184">
                  <c:v>12585</c:v>
                </c:pt>
                <c:pt idx="185">
                  <c:v>12601</c:v>
                </c:pt>
                <c:pt idx="186">
                  <c:v>12717</c:v>
                </c:pt>
                <c:pt idx="187">
                  <c:v>12564</c:v>
                </c:pt>
                <c:pt idx="188">
                  <c:v>12691</c:v>
                </c:pt>
                <c:pt idx="189">
                  <c:v>12427</c:v>
                </c:pt>
                <c:pt idx="190">
                  <c:v>12233</c:v>
                </c:pt>
                <c:pt idx="191">
                  <c:v>11592</c:v>
                </c:pt>
                <c:pt idx="192">
                  <c:v>11581</c:v>
                </c:pt>
                <c:pt idx="193">
                  <c:v>11291</c:v>
                </c:pt>
                <c:pt idx="194">
                  <c:v>11475</c:v>
                </c:pt>
                <c:pt idx="195">
                  <c:v>11252</c:v>
                </c:pt>
                <c:pt idx="196">
                  <c:v>11236</c:v>
                </c:pt>
                <c:pt idx="197">
                  <c:v>11171</c:v>
                </c:pt>
                <c:pt idx="198">
                  <c:v>10956</c:v>
                </c:pt>
                <c:pt idx="199">
                  <c:v>10796</c:v>
                </c:pt>
                <c:pt idx="200">
                  <c:v>10617</c:v>
                </c:pt>
                <c:pt idx="201">
                  <c:v>10474</c:v>
                </c:pt>
                <c:pt idx="202">
                  <c:v>9150</c:v>
                </c:pt>
                <c:pt idx="203">
                  <c:v>8824</c:v>
                </c:pt>
                <c:pt idx="204">
                  <c:v>8732</c:v>
                </c:pt>
                <c:pt idx="205">
                  <c:v>8439</c:v>
                </c:pt>
                <c:pt idx="206">
                  <c:v>8256</c:v>
                </c:pt>
                <c:pt idx="207">
                  <c:v>8019</c:v>
                </c:pt>
                <c:pt idx="208">
                  <c:v>8038</c:v>
                </c:pt>
                <c:pt idx="209">
                  <c:v>7947</c:v>
                </c:pt>
                <c:pt idx="210">
                  <c:v>7796</c:v>
                </c:pt>
                <c:pt idx="211">
                  <c:v>7871</c:v>
                </c:pt>
                <c:pt idx="212">
                  <c:v>7366</c:v>
                </c:pt>
                <c:pt idx="213">
                  <c:v>7009</c:v>
                </c:pt>
                <c:pt idx="214">
                  <c:v>7128</c:v>
                </c:pt>
                <c:pt idx="215">
                  <c:v>6981</c:v>
                </c:pt>
                <c:pt idx="216">
                  <c:v>6869</c:v>
                </c:pt>
                <c:pt idx="217">
                  <c:v>7018</c:v>
                </c:pt>
                <c:pt idx="218">
                  <c:v>6737</c:v>
                </c:pt>
                <c:pt idx="219">
                  <c:v>6710</c:v>
                </c:pt>
                <c:pt idx="220">
                  <c:v>6673</c:v>
                </c:pt>
                <c:pt idx="221">
                  <c:v>6584</c:v>
                </c:pt>
                <c:pt idx="222">
                  <c:v>6575</c:v>
                </c:pt>
                <c:pt idx="223">
                  <c:v>6517</c:v>
                </c:pt>
                <c:pt idx="224">
                  <c:v>6545</c:v>
                </c:pt>
                <c:pt idx="225">
                  <c:v>6417</c:v>
                </c:pt>
                <c:pt idx="226">
                  <c:v>6194</c:v>
                </c:pt>
                <c:pt idx="227">
                  <c:v>6203</c:v>
                </c:pt>
                <c:pt idx="228">
                  <c:v>6098</c:v>
                </c:pt>
                <c:pt idx="229">
                  <c:v>5964</c:v>
                </c:pt>
                <c:pt idx="230">
                  <c:v>6135</c:v>
                </c:pt>
                <c:pt idx="231">
                  <c:v>6190</c:v>
                </c:pt>
                <c:pt idx="232">
                  <c:v>6015</c:v>
                </c:pt>
                <c:pt idx="233">
                  <c:v>5773</c:v>
                </c:pt>
                <c:pt idx="234">
                  <c:v>5721</c:v>
                </c:pt>
                <c:pt idx="235">
                  <c:v>5489</c:v>
                </c:pt>
                <c:pt idx="236">
                  <c:v>5585</c:v>
                </c:pt>
                <c:pt idx="237">
                  <c:v>5595</c:v>
                </c:pt>
                <c:pt idx="238">
                  <c:v>5519</c:v>
                </c:pt>
                <c:pt idx="239">
                  <c:v>5349</c:v>
                </c:pt>
                <c:pt idx="240">
                  <c:v>5113</c:v>
                </c:pt>
                <c:pt idx="241">
                  <c:v>5106</c:v>
                </c:pt>
                <c:pt idx="242">
                  <c:v>4933</c:v>
                </c:pt>
                <c:pt idx="243">
                  <c:v>4820</c:v>
                </c:pt>
                <c:pt idx="244">
                  <c:v>4836</c:v>
                </c:pt>
                <c:pt idx="245">
                  <c:v>4714</c:v>
                </c:pt>
                <c:pt idx="246">
                  <c:v>4527</c:v>
                </c:pt>
                <c:pt idx="247">
                  <c:v>4658</c:v>
                </c:pt>
                <c:pt idx="248">
                  <c:v>4428</c:v>
                </c:pt>
                <c:pt idx="249">
                  <c:v>4539</c:v>
                </c:pt>
                <c:pt idx="250">
                  <c:v>4608</c:v>
                </c:pt>
                <c:pt idx="251">
                  <c:v>4457</c:v>
                </c:pt>
                <c:pt idx="252">
                  <c:v>4499</c:v>
                </c:pt>
                <c:pt idx="253">
                  <c:v>4396</c:v>
                </c:pt>
                <c:pt idx="254">
                  <c:v>4339</c:v>
                </c:pt>
                <c:pt idx="255">
                  <c:v>4115</c:v>
                </c:pt>
                <c:pt idx="256">
                  <c:v>4142</c:v>
                </c:pt>
                <c:pt idx="257">
                  <c:v>4061</c:v>
                </c:pt>
                <c:pt idx="258">
                  <c:v>4008</c:v>
                </c:pt>
                <c:pt idx="259">
                  <c:v>4118</c:v>
                </c:pt>
                <c:pt idx="260">
                  <c:v>3898</c:v>
                </c:pt>
                <c:pt idx="261">
                  <c:v>4130</c:v>
                </c:pt>
                <c:pt idx="262">
                  <c:v>3878</c:v>
                </c:pt>
                <c:pt idx="263">
                  <c:v>4000</c:v>
                </c:pt>
                <c:pt idx="264">
                  <c:v>3955</c:v>
                </c:pt>
                <c:pt idx="265">
                  <c:v>3833</c:v>
                </c:pt>
                <c:pt idx="266">
                  <c:v>3755</c:v>
                </c:pt>
                <c:pt idx="267">
                  <c:v>3785</c:v>
                </c:pt>
                <c:pt idx="268">
                  <c:v>3712</c:v>
                </c:pt>
                <c:pt idx="269">
                  <c:v>3700</c:v>
                </c:pt>
                <c:pt idx="270">
                  <c:v>3690</c:v>
                </c:pt>
                <c:pt idx="271">
                  <c:v>3466</c:v>
                </c:pt>
                <c:pt idx="272">
                  <c:v>3473</c:v>
                </c:pt>
                <c:pt idx="273">
                  <c:v>3533</c:v>
                </c:pt>
                <c:pt idx="274">
                  <c:v>3492</c:v>
                </c:pt>
                <c:pt idx="275">
                  <c:v>3472</c:v>
                </c:pt>
                <c:pt idx="276">
                  <c:v>3306</c:v>
                </c:pt>
                <c:pt idx="277">
                  <c:v>3292</c:v>
                </c:pt>
                <c:pt idx="278">
                  <c:v>3261</c:v>
                </c:pt>
                <c:pt idx="279">
                  <c:v>3228</c:v>
                </c:pt>
                <c:pt idx="280">
                  <c:v>3185</c:v>
                </c:pt>
                <c:pt idx="281">
                  <c:v>3144</c:v>
                </c:pt>
                <c:pt idx="282">
                  <c:v>3078</c:v>
                </c:pt>
                <c:pt idx="283">
                  <c:v>2984</c:v>
                </c:pt>
                <c:pt idx="284">
                  <c:v>2945</c:v>
                </c:pt>
                <c:pt idx="285">
                  <c:v>2963</c:v>
                </c:pt>
                <c:pt idx="286">
                  <c:v>2937</c:v>
                </c:pt>
                <c:pt idx="287">
                  <c:v>2845</c:v>
                </c:pt>
                <c:pt idx="288">
                  <c:v>2755</c:v>
                </c:pt>
                <c:pt idx="289">
                  <c:v>2794</c:v>
                </c:pt>
                <c:pt idx="290">
                  <c:v>2683</c:v>
                </c:pt>
                <c:pt idx="291">
                  <c:v>2612</c:v>
                </c:pt>
                <c:pt idx="292">
                  <c:v>2683</c:v>
                </c:pt>
                <c:pt idx="293">
                  <c:v>2548</c:v>
                </c:pt>
                <c:pt idx="294">
                  <c:v>2545</c:v>
                </c:pt>
                <c:pt idx="295">
                  <c:v>2540</c:v>
                </c:pt>
                <c:pt idx="296">
                  <c:v>2539</c:v>
                </c:pt>
                <c:pt idx="297">
                  <c:v>2381</c:v>
                </c:pt>
                <c:pt idx="298">
                  <c:v>2416</c:v>
                </c:pt>
                <c:pt idx="299">
                  <c:v>2336</c:v>
                </c:pt>
                <c:pt idx="300">
                  <c:v>2477</c:v>
                </c:pt>
                <c:pt idx="301">
                  <c:v>2402</c:v>
                </c:pt>
                <c:pt idx="302">
                  <c:v>2375</c:v>
                </c:pt>
                <c:pt idx="303">
                  <c:v>2301</c:v>
                </c:pt>
                <c:pt idx="304">
                  <c:v>2325</c:v>
                </c:pt>
                <c:pt idx="305">
                  <c:v>2262</c:v>
                </c:pt>
                <c:pt idx="306">
                  <c:v>2270</c:v>
                </c:pt>
                <c:pt idx="307">
                  <c:v>2248</c:v>
                </c:pt>
                <c:pt idx="308">
                  <c:v>2192</c:v>
                </c:pt>
                <c:pt idx="309">
                  <c:v>2244</c:v>
                </c:pt>
                <c:pt idx="310">
                  <c:v>2140</c:v>
                </c:pt>
                <c:pt idx="311">
                  <c:v>2073</c:v>
                </c:pt>
                <c:pt idx="312">
                  <c:v>2057</c:v>
                </c:pt>
                <c:pt idx="313">
                  <c:v>1960</c:v>
                </c:pt>
                <c:pt idx="314">
                  <c:v>1883</c:v>
                </c:pt>
                <c:pt idx="315">
                  <c:v>1937</c:v>
                </c:pt>
                <c:pt idx="316">
                  <c:v>1975</c:v>
                </c:pt>
                <c:pt idx="317">
                  <c:v>1948</c:v>
                </c:pt>
                <c:pt idx="318">
                  <c:v>1963</c:v>
                </c:pt>
                <c:pt idx="319">
                  <c:v>1743</c:v>
                </c:pt>
                <c:pt idx="320">
                  <c:v>1756</c:v>
                </c:pt>
                <c:pt idx="321">
                  <c:v>1768</c:v>
                </c:pt>
                <c:pt idx="322">
                  <c:v>1742</c:v>
                </c:pt>
                <c:pt idx="323">
                  <c:v>1614</c:v>
                </c:pt>
                <c:pt idx="324">
                  <c:v>1654</c:v>
                </c:pt>
                <c:pt idx="325">
                  <c:v>1614</c:v>
                </c:pt>
                <c:pt idx="326">
                  <c:v>1663</c:v>
                </c:pt>
                <c:pt idx="327">
                  <c:v>1604</c:v>
                </c:pt>
                <c:pt idx="328">
                  <c:v>1559</c:v>
                </c:pt>
                <c:pt idx="329">
                  <c:v>1555</c:v>
                </c:pt>
                <c:pt idx="330">
                  <c:v>1399</c:v>
                </c:pt>
                <c:pt idx="331">
                  <c:v>1422</c:v>
                </c:pt>
                <c:pt idx="332">
                  <c:v>1522</c:v>
                </c:pt>
                <c:pt idx="333">
                  <c:v>1392</c:v>
                </c:pt>
                <c:pt idx="334">
                  <c:v>1406</c:v>
                </c:pt>
                <c:pt idx="335">
                  <c:v>1413</c:v>
                </c:pt>
                <c:pt idx="336">
                  <c:v>1390</c:v>
                </c:pt>
                <c:pt idx="337">
                  <c:v>1308</c:v>
                </c:pt>
                <c:pt idx="338">
                  <c:v>1243</c:v>
                </c:pt>
                <c:pt idx="339">
                  <c:v>1221</c:v>
                </c:pt>
                <c:pt idx="340">
                  <c:v>1119</c:v>
                </c:pt>
                <c:pt idx="341">
                  <c:v>1164</c:v>
                </c:pt>
                <c:pt idx="342">
                  <c:v>1115</c:v>
                </c:pt>
                <c:pt idx="343">
                  <c:v>1137</c:v>
                </c:pt>
                <c:pt idx="344">
                  <c:v>1151</c:v>
                </c:pt>
                <c:pt idx="345">
                  <c:v>1090</c:v>
                </c:pt>
                <c:pt idx="346">
                  <c:v>1024</c:v>
                </c:pt>
                <c:pt idx="347">
                  <c:v>1097</c:v>
                </c:pt>
                <c:pt idx="348">
                  <c:v>703</c:v>
                </c:pt>
                <c:pt idx="349">
                  <c:v>643</c:v>
                </c:pt>
                <c:pt idx="350">
                  <c:v>584</c:v>
                </c:pt>
                <c:pt idx="351">
                  <c:v>587</c:v>
                </c:pt>
                <c:pt idx="352">
                  <c:v>512</c:v>
                </c:pt>
                <c:pt idx="353">
                  <c:v>450</c:v>
                </c:pt>
                <c:pt idx="354">
                  <c:v>457</c:v>
                </c:pt>
                <c:pt idx="355">
                  <c:v>417</c:v>
                </c:pt>
                <c:pt idx="356">
                  <c:v>349</c:v>
                </c:pt>
                <c:pt idx="357">
                  <c:v>278</c:v>
                </c:pt>
                <c:pt idx="358">
                  <c:v>264</c:v>
                </c:pt>
                <c:pt idx="359">
                  <c:v>264</c:v>
                </c:pt>
                <c:pt idx="360">
                  <c:v>222</c:v>
                </c:pt>
                <c:pt idx="361">
                  <c:v>177</c:v>
                </c:pt>
                <c:pt idx="362">
                  <c:v>148</c:v>
                </c:pt>
                <c:pt idx="363">
                  <c:v>1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23018544"/>
        <c:axId val="723006224"/>
      </c:areaChart>
      <c:catAx>
        <c:axId val="723018544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3006224"/>
        <c:crosses val="autoZero"/>
        <c:auto val="1"/>
        <c:lblAlgn val="ctr"/>
        <c:lblOffset val="100"/>
        <c:noMultiLvlLbl val="0"/>
      </c:catAx>
      <c:valAx>
        <c:axId val="7230062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3018544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bestFit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2!$A$1:$A$5</c:f>
              <c:strCache>
                <c:ptCount val="5"/>
                <c:pt idx="0">
                  <c:v>类别0</c:v>
                </c:pt>
                <c:pt idx="1">
                  <c:v>类别3</c:v>
                </c:pt>
                <c:pt idx="2">
                  <c:v>类别1</c:v>
                </c:pt>
                <c:pt idx="3">
                  <c:v>类别4</c:v>
                </c:pt>
                <c:pt idx="4">
                  <c:v>类别2</c:v>
                </c:pt>
              </c:strCache>
            </c:strRef>
          </c:cat>
          <c:val>
            <c:numRef>
              <c:f>Sheet2!$B$1:$B$5</c:f>
              <c:numCache>
                <c:formatCode>General</c:formatCode>
                <c:ptCount val="5"/>
                <c:pt idx="0">
                  <c:v>3292</c:v>
                </c:pt>
                <c:pt idx="1">
                  <c:v>2744</c:v>
                </c:pt>
                <c:pt idx="2">
                  <c:v>2257</c:v>
                </c:pt>
                <c:pt idx="3">
                  <c:v>895</c:v>
                </c:pt>
                <c:pt idx="4">
                  <c:v>780</c:v>
                </c:pt>
              </c:numCache>
            </c:numRef>
          </c:val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C71DFF7-8EE5-4F8C-8BC7-0A5180DDFB78}" type="doc">
      <dgm:prSet loTypeId="urn:microsoft.com/office/officeart/2005/8/layout/chevron2" loCatId="process" qsTypeId="urn:microsoft.com/office/officeart/2005/8/quickstyle/simple1" qsCatId="simple" csTypeId="urn:microsoft.com/office/officeart/2005/8/colors/accent3_1" csCatId="accent3" phldr="1"/>
      <dgm:spPr/>
    </dgm:pt>
    <dgm:pt modelId="{E128944C-6D54-44BC-BF4E-AF0BA716AD7B}">
      <dgm:prSet phldrT="[文本]" custT="1"/>
      <dgm:spPr/>
      <dgm:t>
        <a:bodyPr/>
        <a:lstStyle/>
        <a:p>
          <a:r>
            <a:rPr lang="zh-CN" altLang="en-US" sz="1000" dirty="0" smtClean="0"/>
            <a:t>数据系统</a:t>
          </a:r>
          <a:endParaRPr lang="zh-CN" altLang="en-US" sz="1000" dirty="0"/>
        </a:p>
      </dgm:t>
    </dgm:pt>
    <dgm:pt modelId="{101E3FE7-2E6B-4217-937B-46D40F827E76}" type="parTrans" cxnId="{E42737A6-60D7-4122-94B2-6803FF713AEF}">
      <dgm:prSet/>
      <dgm:spPr/>
      <dgm:t>
        <a:bodyPr/>
        <a:lstStyle/>
        <a:p>
          <a:endParaRPr lang="zh-CN" altLang="en-US" sz="1000"/>
        </a:p>
      </dgm:t>
    </dgm:pt>
    <dgm:pt modelId="{7C1489C4-4B3B-4580-97A2-368C1434B35F}" type="sibTrans" cxnId="{E42737A6-60D7-4122-94B2-6803FF713AEF}">
      <dgm:prSet/>
      <dgm:spPr/>
      <dgm:t>
        <a:bodyPr/>
        <a:lstStyle/>
        <a:p>
          <a:endParaRPr lang="zh-CN" altLang="en-US" sz="1000"/>
        </a:p>
      </dgm:t>
    </dgm:pt>
    <dgm:pt modelId="{3AE35CA5-05D2-40FC-998A-5336565AD756}">
      <dgm:prSet phldrT="[文本]" custT="1"/>
      <dgm:spPr/>
      <dgm:t>
        <a:bodyPr/>
        <a:lstStyle/>
        <a:p>
          <a:r>
            <a:rPr lang="zh-CN" altLang="en-US" sz="1000" dirty="0" smtClean="0"/>
            <a:t>数据抽取</a:t>
          </a:r>
          <a:r>
            <a:rPr lang="en-US" altLang="zh-CN" sz="1000" dirty="0" smtClean="0"/>
            <a:t>&amp;</a:t>
          </a:r>
          <a:r>
            <a:rPr lang="zh-CN" altLang="en-US" sz="1000" dirty="0" smtClean="0"/>
            <a:t>加工</a:t>
          </a:r>
          <a:endParaRPr lang="zh-CN" altLang="en-US" sz="1000" dirty="0"/>
        </a:p>
      </dgm:t>
    </dgm:pt>
    <dgm:pt modelId="{26B7BF3E-3E58-4519-9641-C00EBA3CD48D}" type="parTrans" cxnId="{F28F9BDF-E611-41B7-8149-12BCECA76C6B}">
      <dgm:prSet/>
      <dgm:spPr/>
      <dgm:t>
        <a:bodyPr/>
        <a:lstStyle/>
        <a:p>
          <a:endParaRPr lang="zh-CN" altLang="en-US" sz="1000"/>
        </a:p>
      </dgm:t>
    </dgm:pt>
    <dgm:pt modelId="{20559C17-0758-4B73-A2BA-4E546FE54BAA}" type="sibTrans" cxnId="{F28F9BDF-E611-41B7-8149-12BCECA76C6B}">
      <dgm:prSet/>
      <dgm:spPr/>
      <dgm:t>
        <a:bodyPr/>
        <a:lstStyle/>
        <a:p>
          <a:endParaRPr lang="zh-CN" altLang="en-US" sz="1000"/>
        </a:p>
      </dgm:t>
    </dgm:pt>
    <dgm:pt modelId="{359E340C-4EF6-4EC4-A8DC-71B89AF1D1A9}">
      <dgm:prSet phldrT="[文本]" custT="1"/>
      <dgm:spPr/>
      <dgm:t>
        <a:bodyPr/>
        <a:lstStyle/>
        <a:p>
          <a:r>
            <a:rPr lang="zh-CN" altLang="en-US" sz="1000" dirty="0" smtClean="0"/>
            <a:t>数据探索与预处理</a:t>
          </a:r>
          <a:endParaRPr lang="zh-CN" altLang="en-US" sz="1000" dirty="0"/>
        </a:p>
      </dgm:t>
    </dgm:pt>
    <dgm:pt modelId="{ADAE3C80-5CD3-48A9-8EDF-AB074ECC16BD}" type="parTrans" cxnId="{8A52DEB8-D259-482F-9C1E-D1F2FC360E27}">
      <dgm:prSet/>
      <dgm:spPr/>
      <dgm:t>
        <a:bodyPr/>
        <a:lstStyle/>
        <a:p>
          <a:endParaRPr lang="zh-CN" altLang="en-US" sz="1000"/>
        </a:p>
      </dgm:t>
    </dgm:pt>
    <dgm:pt modelId="{EEEA8AEF-C8FA-4912-B65E-F530726548B1}" type="sibTrans" cxnId="{8A52DEB8-D259-482F-9C1E-D1F2FC360E27}">
      <dgm:prSet/>
      <dgm:spPr/>
      <dgm:t>
        <a:bodyPr/>
        <a:lstStyle/>
        <a:p>
          <a:endParaRPr lang="zh-CN" altLang="en-US" sz="1000"/>
        </a:p>
      </dgm:t>
    </dgm:pt>
    <dgm:pt modelId="{D5D2C51A-CF5E-40E2-9214-CA7BA15761A6}">
      <dgm:prSet phldrT="[文本]" custT="1"/>
      <dgm:spPr/>
      <dgm:t>
        <a:bodyPr/>
        <a:lstStyle/>
        <a:p>
          <a:r>
            <a:rPr lang="zh-CN" altLang="en-US" sz="1000" dirty="0" smtClean="0"/>
            <a:t>建模</a:t>
          </a:r>
          <a:r>
            <a:rPr lang="en-US" altLang="zh-CN" sz="1000" dirty="0" smtClean="0"/>
            <a:t>&amp;</a:t>
          </a:r>
          <a:r>
            <a:rPr lang="zh-CN" altLang="en-US" sz="1000" dirty="0" smtClean="0"/>
            <a:t>应用</a:t>
          </a:r>
          <a:endParaRPr lang="zh-CN" altLang="en-US" sz="1000" dirty="0"/>
        </a:p>
      </dgm:t>
    </dgm:pt>
    <dgm:pt modelId="{A8A4A2B7-AC16-4AAE-864A-7FD2EC56825E}" type="parTrans" cxnId="{AC5E98E0-015B-473F-A9FD-692A9F3963D9}">
      <dgm:prSet/>
      <dgm:spPr/>
      <dgm:t>
        <a:bodyPr/>
        <a:lstStyle/>
        <a:p>
          <a:endParaRPr lang="zh-CN" altLang="en-US" sz="1000"/>
        </a:p>
      </dgm:t>
    </dgm:pt>
    <dgm:pt modelId="{ADF79B26-DBDA-45F1-B946-CEF580DE67B9}" type="sibTrans" cxnId="{AC5E98E0-015B-473F-A9FD-692A9F3963D9}">
      <dgm:prSet/>
      <dgm:spPr/>
      <dgm:t>
        <a:bodyPr/>
        <a:lstStyle/>
        <a:p>
          <a:endParaRPr lang="zh-CN" altLang="en-US" sz="1000"/>
        </a:p>
      </dgm:t>
    </dgm:pt>
    <dgm:pt modelId="{7A03F702-6859-4298-8E92-8216F92308E5}">
      <dgm:prSet phldrT="[文本]" custT="1"/>
      <dgm:spPr/>
      <dgm:t>
        <a:bodyPr/>
        <a:lstStyle/>
        <a:p>
          <a:r>
            <a:rPr lang="zh-CN" altLang="en-US" sz="1000" dirty="0" smtClean="0"/>
            <a:t>结果</a:t>
          </a:r>
          <a:r>
            <a:rPr lang="en-US" altLang="zh-CN" sz="1000" dirty="0" smtClean="0"/>
            <a:t>&amp;</a:t>
          </a:r>
          <a:r>
            <a:rPr lang="zh-CN" altLang="en-US" sz="1000" dirty="0" smtClean="0"/>
            <a:t>反馈</a:t>
          </a:r>
          <a:endParaRPr lang="zh-CN" altLang="en-US" sz="1000" dirty="0"/>
        </a:p>
      </dgm:t>
    </dgm:pt>
    <dgm:pt modelId="{D904AA6F-6349-4E04-A1EB-F756239F45DC}" type="parTrans" cxnId="{FC142ED4-ECC1-4FE2-904C-B8C8DBFA89A1}">
      <dgm:prSet/>
      <dgm:spPr/>
      <dgm:t>
        <a:bodyPr/>
        <a:lstStyle/>
        <a:p>
          <a:endParaRPr lang="zh-CN" altLang="en-US" sz="1000"/>
        </a:p>
      </dgm:t>
    </dgm:pt>
    <dgm:pt modelId="{D3A3AED6-5BED-45AD-BDDB-B0FA87E754F5}" type="sibTrans" cxnId="{FC142ED4-ECC1-4FE2-904C-B8C8DBFA89A1}">
      <dgm:prSet/>
      <dgm:spPr/>
      <dgm:t>
        <a:bodyPr/>
        <a:lstStyle/>
        <a:p>
          <a:endParaRPr lang="zh-CN" altLang="en-US" sz="1000"/>
        </a:p>
      </dgm:t>
    </dgm:pt>
    <dgm:pt modelId="{B4EB20FC-134D-40D9-99D1-CC1E72FC3D06}">
      <dgm:prSet custT="1"/>
      <dgm:spPr/>
      <dgm:t>
        <a:bodyPr/>
        <a:lstStyle/>
        <a:p>
          <a:r>
            <a:rPr lang="zh-CN" altLang="en-US" sz="1000" dirty="0" smtClean="0"/>
            <a:t>源数据</a:t>
          </a:r>
          <a:endParaRPr lang="zh-CN" altLang="en-US" sz="1000" dirty="0"/>
        </a:p>
      </dgm:t>
    </dgm:pt>
    <dgm:pt modelId="{C2F4CCCC-A654-4F29-BBF3-56CB22D4CEE6}" type="parTrans" cxnId="{40FAE4D7-419A-46C1-843F-B5670AB09458}">
      <dgm:prSet/>
      <dgm:spPr/>
      <dgm:t>
        <a:bodyPr/>
        <a:lstStyle/>
        <a:p>
          <a:endParaRPr lang="zh-CN" altLang="en-US"/>
        </a:p>
      </dgm:t>
    </dgm:pt>
    <dgm:pt modelId="{E4E17B4E-8D60-49F7-84A9-52DFAC927C3C}" type="sibTrans" cxnId="{40FAE4D7-419A-46C1-843F-B5670AB09458}">
      <dgm:prSet/>
      <dgm:spPr/>
      <dgm:t>
        <a:bodyPr/>
        <a:lstStyle/>
        <a:p>
          <a:endParaRPr lang="zh-CN" altLang="en-US"/>
        </a:p>
      </dgm:t>
    </dgm:pt>
    <dgm:pt modelId="{3989A6D8-503F-4338-BAF2-C5E086948B1D}">
      <dgm:prSet custT="1"/>
      <dgm:spPr/>
      <dgm:t>
        <a:bodyPr/>
        <a:lstStyle/>
        <a:p>
          <a:r>
            <a:rPr lang="zh-CN" altLang="en-US" sz="1000" dirty="0" smtClean="0"/>
            <a:t>将源数据抽取并简单清洗加工</a:t>
          </a:r>
          <a:endParaRPr lang="zh-CN" altLang="en-US" sz="1000" dirty="0"/>
        </a:p>
      </dgm:t>
    </dgm:pt>
    <dgm:pt modelId="{38F9473D-EE12-4B0B-8ADF-2691DAC18364}" type="parTrans" cxnId="{E8ECCF60-DC98-409A-8F9B-1FD9605B4F2A}">
      <dgm:prSet/>
      <dgm:spPr/>
      <dgm:t>
        <a:bodyPr/>
        <a:lstStyle/>
        <a:p>
          <a:endParaRPr lang="zh-CN" altLang="en-US"/>
        </a:p>
      </dgm:t>
    </dgm:pt>
    <dgm:pt modelId="{FC337475-1643-466A-B2EB-3CEBF2A44E9A}" type="sibTrans" cxnId="{E8ECCF60-DC98-409A-8F9B-1FD9605B4F2A}">
      <dgm:prSet/>
      <dgm:spPr/>
      <dgm:t>
        <a:bodyPr/>
        <a:lstStyle/>
        <a:p>
          <a:endParaRPr lang="zh-CN" altLang="en-US"/>
        </a:p>
      </dgm:t>
    </dgm:pt>
    <dgm:pt modelId="{C3214FDF-2A91-4B89-A561-84E16C060ED6}">
      <dgm:prSet custT="1"/>
      <dgm:spPr/>
      <dgm:t>
        <a:bodyPr/>
        <a:lstStyle/>
        <a:p>
          <a:r>
            <a:rPr lang="zh-CN" altLang="en-US" sz="1000" dirty="0" smtClean="0"/>
            <a:t>缺失值与异常值分析</a:t>
          </a:r>
          <a:endParaRPr lang="zh-CN" altLang="en-US" sz="1000" dirty="0"/>
        </a:p>
      </dgm:t>
    </dgm:pt>
    <dgm:pt modelId="{227BD1F6-5896-4E74-BEAC-FB0FDF7A7BA5}" type="parTrans" cxnId="{1D21BAB7-6F73-4294-AA48-C3877062CD04}">
      <dgm:prSet/>
      <dgm:spPr/>
      <dgm:t>
        <a:bodyPr/>
        <a:lstStyle/>
        <a:p>
          <a:endParaRPr lang="zh-CN" altLang="en-US"/>
        </a:p>
      </dgm:t>
    </dgm:pt>
    <dgm:pt modelId="{3FD21E49-F6D0-45A3-BE56-558599817DDE}" type="sibTrans" cxnId="{1D21BAB7-6F73-4294-AA48-C3877062CD04}">
      <dgm:prSet/>
      <dgm:spPr/>
      <dgm:t>
        <a:bodyPr/>
        <a:lstStyle/>
        <a:p>
          <a:endParaRPr lang="zh-CN" altLang="en-US"/>
        </a:p>
      </dgm:t>
    </dgm:pt>
    <dgm:pt modelId="{065E9CB9-BAE3-45B8-8A90-B065022F13E5}">
      <dgm:prSet custT="1"/>
      <dgm:spPr/>
      <dgm:t>
        <a:bodyPr/>
        <a:lstStyle/>
        <a:p>
          <a:r>
            <a:rPr lang="zh-CN" altLang="en-US" sz="1000" dirty="0" smtClean="0"/>
            <a:t>数据清洗</a:t>
          </a:r>
          <a:endParaRPr lang="zh-CN" altLang="en-US" sz="1000" dirty="0"/>
        </a:p>
      </dgm:t>
    </dgm:pt>
    <dgm:pt modelId="{0BE41711-C800-449E-ADEF-9E5E7BEA8D03}" type="parTrans" cxnId="{3C2C26D2-2365-45B8-8061-93BC0D3F7AEB}">
      <dgm:prSet/>
      <dgm:spPr/>
      <dgm:t>
        <a:bodyPr/>
        <a:lstStyle/>
        <a:p>
          <a:endParaRPr lang="zh-CN" altLang="en-US"/>
        </a:p>
      </dgm:t>
    </dgm:pt>
    <dgm:pt modelId="{372B0F80-4EBF-4173-8D9A-B943FC607122}" type="sibTrans" cxnId="{3C2C26D2-2365-45B8-8061-93BC0D3F7AEB}">
      <dgm:prSet/>
      <dgm:spPr/>
      <dgm:t>
        <a:bodyPr/>
        <a:lstStyle/>
        <a:p>
          <a:endParaRPr lang="zh-CN" altLang="en-US"/>
        </a:p>
      </dgm:t>
    </dgm:pt>
    <dgm:pt modelId="{3ABEDC9E-78AD-4751-97A2-AD47C0AA462D}">
      <dgm:prSet custT="1"/>
      <dgm:spPr/>
      <dgm:t>
        <a:bodyPr/>
        <a:lstStyle/>
        <a:p>
          <a:r>
            <a:rPr lang="zh-CN" altLang="en-US" sz="1000" dirty="0" smtClean="0"/>
            <a:t>属性规约</a:t>
          </a:r>
          <a:endParaRPr lang="zh-CN" altLang="en-US" sz="1000" dirty="0"/>
        </a:p>
      </dgm:t>
    </dgm:pt>
    <dgm:pt modelId="{121B1554-D1FC-4ED0-97FA-4EBCC3B89A89}" type="parTrans" cxnId="{02A8E725-5F4B-4879-B226-1B878C1E70DD}">
      <dgm:prSet/>
      <dgm:spPr/>
      <dgm:t>
        <a:bodyPr/>
        <a:lstStyle/>
        <a:p>
          <a:endParaRPr lang="zh-CN" altLang="en-US"/>
        </a:p>
      </dgm:t>
    </dgm:pt>
    <dgm:pt modelId="{FB883861-A60B-4147-8112-E81A1C3584DF}" type="sibTrans" cxnId="{02A8E725-5F4B-4879-B226-1B878C1E70DD}">
      <dgm:prSet/>
      <dgm:spPr/>
      <dgm:t>
        <a:bodyPr/>
        <a:lstStyle/>
        <a:p>
          <a:endParaRPr lang="zh-CN" altLang="en-US"/>
        </a:p>
      </dgm:t>
    </dgm:pt>
    <dgm:pt modelId="{6ADE86AD-0DD5-42E6-AE4C-13F8AB3AA7EC}">
      <dgm:prSet custT="1"/>
      <dgm:spPr/>
      <dgm:t>
        <a:bodyPr/>
        <a:lstStyle/>
        <a:p>
          <a:r>
            <a:rPr lang="zh-CN" altLang="en-US" sz="1000" dirty="0" smtClean="0"/>
            <a:t>数据变换</a:t>
          </a:r>
          <a:endParaRPr lang="zh-CN" altLang="en-US" sz="1000" dirty="0"/>
        </a:p>
      </dgm:t>
    </dgm:pt>
    <dgm:pt modelId="{DE8D0C71-4922-4C47-92DD-BFC2287763DF}" type="parTrans" cxnId="{796CD493-DEB1-4092-B9E4-F7B23EF9E2A5}">
      <dgm:prSet/>
      <dgm:spPr/>
      <dgm:t>
        <a:bodyPr/>
        <a:lstStyle/>
        <a:p>
          <a:endParaRPr lang="zh-CN" altLang="en-US"/>
        </a:p>
      </dgm:t>
    </dgm:pt>
    <dgm:pt modelId="{76E7EA6E-8195-4736-9363-68B46A5752CC}" type="sibTrans" cxnId="{796CD493-DEB1-4092-B9E4-F7B23EF9E2A5}">
      <dgm:prSet/>
      <dgm:spPr/>
      <dgm:t>
        <a:bodyPr/>
        <a:lstStyle/>
        <a:p>
          <a:endParaRPr lang="zh-CN" altLang="en-US"/>
        </a:p>
      </dgm:t>
    </dgm:pt>
    <dgm:pt modelId="{E9B4428D-449F-47AB-8201-8425F386ACCB}">
      <dgm:prSet custT="1"/>
      <dgm:spPr/>
      <dgm:t>
        <a:bodyPr/>
        <a:lstStyle/>
        <a:p>
          <a:r>
            <a:rPr lang="zh-CN" altLang="en-US" sz="1000" dirty="0" smtClean="0"/>
            <a:t>建模</a:t>
          </a:r>
          <a:endParaRPr lang="zh-CN" altLang="en-US" sz="1000" dirty="0"/>
        </a:p>
      </dgm:t>
    </dgm:pt>
    <dgm:pt modelId="{C98CBE68-19DA-4E08-B97D-8EF6C42C49E5}" type="parTrans" cxnId="{B5AA44E2-BF54-4077-B839-4391C6926776}">
      <dgm:prSet/>
      <dgm:spPr/>
      <dgm:t>
        <a:bodyPr/>
        <a:lstStyle/>
        <a:p>
          <a:endParaRPr lang="zh-CN" altLang="en-US"/>
        </a:p>
      </dgm:t>
    </dgm:pt>
    <dgm:pt modelId="{8FE42260-13E1-411E-8AF0-663F9E633761}" type="sibTrans" cxnId="{B5AA44E2-BF54-4077-B839-4391C6926776}">
      <dgm:prSet/>
      <dgm:spPr/>
      <dgm:t>
        <a:bodyPr/>
        <a:lstStyle/>
        <a:p>
          <a:endParaRPr lang="zh-CN" altLang="en-US"/>
        </a:p>
      </dgm:t>
    </dgm:pt>
    <dgm:pt modelId="{2C0E246A-3DC4-42A3-8D46-FBAD13911A17}">
      <dgm:prSet custT="1"/>
      <dgm:spPr/>
      <dgm:t>
        <a:bodyPr/>
        <a:lstStyle/>
        <a:p>
          <a:r>
            <a:rPr lang="zh-CN" altLang="en-US" sz="1000" dirty="0" smtClean="0"/>
            <a:t>模型效果分析</a:t>
          </a:r>
          <a:endParaRPr lang="zh-CN" altLang="en-US" sz="1000" dirty="0"/>
        </a:p>
      </dgm:t>
    </dgm:pt>
    <dgm:pt modelId="{5B6783BA-B6FF-43E7-AA70-3CA3EA1ACA58}" type="parTrans" cxnId="{EC025D70-FF5F-4F9B-8252-9A1ACE68E191}">
      <dgm:prSet/>
      <dgm:spPr/>
      <dgm:t>
        <a:bodyPr/>
        <a:lstStyle/>
        <a:p>
          <a:endParaRPr lang="zh-CN" altLang="en-US"/>
        </a:p>
      </dgm:t>
    </dgm:pt>
    <dgm:pt modelId="{8584D955-0F08-431C-B61D-B442163751D6}" type="sibTrans" cxnId="{EC025D70-FF5F-4F9B-8252-9A1ACE68E191}">
      <dgm:prSet/>
      <dgm:spPr/>
      <dgm:t>
        <a:bodyPr/>
        <a:lstStyle/>
        <a:p>
          <a:endParaRPr lang="zh-CN" altLang="en-US"/>
        </a:p>
      </dgm:t>
    </dgm:pt>
    <dgm:pt modelId="{1CC474A4-2E91-4B6B-BD69-41E6337ADA26}">
      <dgm:prSet custT="1"/>
      <dgm:spPr/>
      <dgm:t>
        <a:bodyPr/>
        <a:lstStyle/>
        <a:p>
          <a:r>
            <a:rPr lang="zh-CN" altLang="en-US" sz="1000" dirty="0" smtClean="0"/>
            <a:t>模型运用</a:t>
          </a:r>
          <a:endParaRPr lang="zh-CN" altLang="en-US" sz="1000" dirty="0"/>
        </a:p>
      </dgm:t>
    </dgm:pt>
    <dgm:pt modelId="{E4B54556-27AA-453E-94C6-A587F638283B}" type="parTrans" cxnId="{C6623CC1-A88E-4D33-8AE2-A0B976C25A4A}">
      <dgm:prSet/>
      <dgm:spPr/>
      <dgm:t>
        <a:bodyPr/>
        <a:lstStyle/>
        <a:p>
          <a:endParaRPr lang="zh-CN" altLang="en-US"/>
        </a:p>
      </dgm:t>
    </dgm:pt>
    <dgm:pt modelId="{8A4C15A6-AFEF-4D12-BD5D-F2335BE772AE}" type="sibTrans" cxnId="{C6623CC1-A88E-4D33-8AE2-A0B976C25A4A}">
      <dgm:prSet/>
      <dgm:spPr/>
      <dgm:t>
        <a:bodyPr/>
        <a:lstStyle/>
        <a:p>
          <a:endParaRPr lang="zh-CN" altLang="en-US"/>
        </a:p>
      </dgm:t>
    </dgm:pt>
    <dgm:pt modelId="{7755625E-788B-4A0D-9B2D-8D80BB3B0917}">
      <dgm:prSet custT="1"/>
      <dgm:spPr/>
      <dgm:t>
        <a:bodyPr/>
        <a:lstStyle/>
        <a:p>
          <a:r>
            <a:rPr lang="zh-CN" altLang="en-US" sz="1000" dirty="0" smtClean="0"/>
            <a:t>应用结果反馈</a:t>
          </a:r>
          <a:endParaRPr lang="zh-CN" altLang="en-US" sz="1000" dirty="0"/>
        </a:p>
      </dgm:t>
    </dgm:pt>
    <dgm:pt modelId="{A5C6A0B7-3F0E-439A-B3DB-B1C2156D608B}" type="parTrans" cxnId="{5415A501-75C0-45BE-B328-076C2C02E97B}">
      <dgm:prSet/>
      <dgm:spPr/>
      <dgm:t>
        <a:bodyPr/>
        <a:lstStyle/>
        <a:p>
          <a:endParaRPr lang="zh-CN" altLang="en-US"/>
        </a:p>
      </dgm:t>
    </dgm:pt>
    <dgm:pt modelId="{0F534776-46D2-42A6-AEFD-70CBC850A135}" type="sibTrans" cxnId="{5415A501-75C0-45BE-B328-076C2C02E97B}">
      <dgm:prSet/>
      <dgm:spPr/>
      <dgm:t>
        <a:bodyPr/>
        <a:lstStyle/>
        <a:p>
          <a:endParaRPr lang="zh-CN" altLang="en-US"/>
        </a:p>
      </dgm:t>
    </dgm:pt>
    <dgm:pt modelId="{78256583-3E1D-4756-9059-0921AC0F0234}">
      <dgm:prSet custT="1"/>
      <dgm:spPr/>
      <dgm:t>
        <a:bodyPr/>
        <a:lstStyle/>
        <a:p>
          <a:r>
            <a:rPr lang="zh-CN" altLang="en-US" sz="1000" dirty="0" smtClean="0"/>
            <a:t>模型优化</a:t>
          </a:r>
          <a:endParaRPr lang="zh-CN" altLang="en-US" sz="1000" dirty="0"/>
        </a:p>
      </dgm:t>
    </dgm:pt>
    <dgm:pt modelId="{40BFAF79-A929-4DA5-9C71-E5CDA9763583}" type="parTrans" cxnId="{646D4D78-68B3-4BD8-8DB4-1D4511C8F80F}">
      <dgm:prSet/>
      <dgm:spPr/>
      <dgm:t>
        <a:bodyPr/>
        <a:lstStyle/>
        <a:p>
          <a:endParaRPr lang="zh-CN" altLang="en-US"/>
        </a:p>
      </dgm:t>
    </dgm:pt>
    <dgm:pt modelId="{3A2E9E6F-A95B-44BD-839E-E71667FFFA07}" type="sibTrans" cxnId="{646D4D78-68B3-4BD8-8DB4-1D4511C8F80F}">
      <dgm:prSet/>
      <dgm:spPr/>
      <dgm:t>
        <a:bodyPr/>
        <a:lstStyle/>
        <a:p>
          <a:endParaRPr lang="zh-CN" altLang="en-US"/>
        </a:p>
      </dgm:t>
    </dgm:pt>
    <dgm:pt modelId="{7983B306-D28A-43DF-84F0-552BF574F3CA}" type="pres">
      <dgm:prSet presAssocID="{8C71DFF7-8EE5-4F8C-8BC7-0A5180DDFB78}" presName="linearFlow" presStyleCnt="0">
        <dgm:presLayoutVars>
          <dgm:dir/>
          <dgm:animLvl val="lvl"/>
          <dgm:resizeHandles val="exact"/>
        </dgm:presLayoutVars>
      </dgm:prSet>
      <dgm:spPr/>
    </dgm:pt>
    <dgm:pt modelId="{B0F0754F-A22F-4842-B681-D3FD2F1322FD}" type="pres">
      <dgm:prSet presAssocID="{E128944C-6D54-44BC-BF4E-AF0BA716AD7B}" presName="composite" presStyleCnt="0"/>
      <dgm:spPr/>
    </dgm:pt>
    <dgm:pt modelId="{162673EE-539F-4D63-A506-061D04E0B6B4}" type="pres">
      <dgm:prSet presAssocID="{E128944C-6D54-44BC-BF4E-AF0BA716AD7B}" presName="parentText" presStyleLbl="align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F0ED20B-D878-43D0-B5C4-AA1A822BE051}" type="pres">
      <dgm:prSet presAssocID="{E128944C-6D54-44BC-BF4E-AF0BA716AD7B}" presName="descendantText" presStyleLbl="alignAcc1" presStyleIdx="0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37237BD-2E1B-40DD-9AB0-1267C6ED89FA}" type="pres">
      <dgm:prSet presAssocID="{7C1489C4-4B3B-4580-97A2-368C1434B35F}" presName="sp" presStyleCnt="0"/>
      <dgm:spPr/>
    </dgm:pt>
    <dgm:pt modelId="{0C0CBF12-9E71-432E-8814-30CE4AAF1ECC}" type="pres">
      <dgm:prSet presAssocID="{3AE35CA5-05D2-40FC-998A-5336565AD756}" presName="composite" presStyleCnt="0"/>
      <dgm:spPr/>
    </dgm:pt>
    <dgm:pt modelId="{A494F658-1C7B-4177-86A3-7A9D7208817E}" type="pres">
      <dgm:prSet presAssocID="{3AE35CA5-05D2-40FC-998A-5336565AD756}" presName="parentText" presStyleLbl="align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0968BA7-E687-4589-A549-F2231C4B25B8}" type="pres">
      <dgm:prSet presAssocID="{3AE35CA5-05D2-40FC-998A-5336565AD756}" presName="descendantText" presStyleLbl="alignAcc1" presStyleIdx="1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3A4B72E-9592-49EB-8B66-D1C49D93771E}" type="pres">
      <dgm:prSet presAssocID="{20559C17-0758-4B73-A2BA-4E546FE54BAA}" presName="sp" presStyleCnt="0"/>
      <dgm:spPr/>
    </dgm:pt>
    <dgm:pt modelId="{1D02BF48-A045-493B-B141-13F40CDC256B}" type="pres">
      <dgm:prSet presAssocID="{359E340C-4EF6-4EC4-A8DC-71B89AF1D1A9}" presName="composite" presStyleCnt="0"/>
      <dgm:spPr/>
    </dgm:pt>
    <dgm:pt modelId="{F9131BDA-1C48-4579-AAA0-8A672311AB4C}" type="pres">
      <dgm:prSet presAssocID="{359E340C-4EF6-4EC4-A8DC-71B89AF1D1A9}" presName="parentText" presStyleLbl="align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BE91643-CF43-4F2D-A509-6F7EDA5FF4DE}" type="pres">
      <dgm:prSet presAssocID="{359E340C-4EF6-4EC4-A8DC-71B89AF1D1A9}" presName="descendantText" presStyleLbl="alignAcc1" presStyleIdx="2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DE8D7D6-87A9-4366-A856-11364D78B4D7}" type="pres">
      <dgm:prSet presAssocID="{EEEA8AEF-C8FA-4912-B65E-F530726548B1}" presName="sp" presStyleCnt="0"/>
      <dgm:spPr/>
    </dgm:pt>
    <dgm:pt modelId="{2C65F27C-035E-4CE6-9A82-EDC3709DF0FD}" type="pres">
      <dgm:prSet presAssocID="{D5D2C51A-CF5E-40E2-9214-CA7BA15761A6}" presName="composite" presStyleCnt="0"/>
      <dgm:spPr/>
    </dgm:pt>
    <dgm:pt modelId="{AE968A40-CEFD-4140-81A1-CC6354F6A64B}" type="pres">
      <dgm:prSet presAssocID="{D5D2C51A-CF5E-40E2-9214-CA7BA15761A6}" presName="parentText" presStyleLbl="align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5C5A5CE-DD99-4995-A166-D4B2663419F7}" type="pres">
      <dgm:prSet presAssocID="{D5D2C51A-CF5E-40E2-9214-CA7BA15761A6}" presName="descendantText" presStyleLbl="alignAcc1" presStyleIdx="3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4F7A31A-5B78-48E1-90CC-35E69A474D6E}" type="pres">
      <dgm:prSet presAssocID="{ADF79B26-DBDA-45F1-B946-CEF580DE67B9}" presName="sp" presStyleCnt="0"/>
      <dgm:spPr/>
    </dgm:pt>
    <dgm:pt modelId="{57F97F7D-A4C0-4FF3-B103-B5E4C6018803}" type="pres">
      <dgm:prSet presAssocID="{7A03F702-6859-4298-8E92-8216F92308E5}" presName="composite" presStyleCnt="0"/>
      <dgm:spPr/>
    </dgm:pt>
    <dgm:pt modelId="{2331B0DA-4071-4578-BCA4-24CCF44F6A27}" type="pres">
      <dgm:prSet presAssocID="{7A03F702-6859-4298-8E92-8216F92308E5}" presName="parentText" presStyleLbl="align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D6ACFB0-81B1-4F3D-A57D-6DDC4FD451FA}" type="pres">
      <dgm:prSet presAssocID="{7A03F702-6859-4298-8E92-8216F92308E5}" presName="descendantText" presStyleLbl="alignAcc1" presStyleIdx="4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62EDE518-837E-4BE7-A265-C174071F5855}" type="presOf" srcId="{8C71DFF7-8EE5-4F8C-8BC7-0A5180DDFB78}" destId="{7983B306-D28A-43DF-84F0-552BF574F3CA}" srcOrd="0" destOrd="0" presId="urn:microsoft.com/office/officeart/2005/8/layout/chevron2"/>
    <dgm:cxn modelId="{053EF311-F8FE-4A26-B46D-59EDE5C1123F}" type="presOf" srcId="{E9B4428D-449F-47AB-8201-8425F386ACCB}" destId="{85C5A5CE-DD99-4995-A166-D4B2663419F7}" srcOrd="0" destOrd="0" presId="urn:microsoft.com/office/officeart/2005/8/layout/chevron2"/>
    <dgm:cxn modelId="{9FD7D6FD-C5CB-495E-B15A-C6433AA60704}" type="presOf" srcId="{7A03F702-6859-4298-8E92-8216F92308E5}" destId="{2331B0DA-4071-4578-BCA4-24CCF44F6A27}" srcOrd="0" destOrd="0" presId="urn:microsoft.com/office/officeart/2005/8/layout/chevron2"/>
    <dgm:cxn modelId="{02A8E725-5F4B-4879-B226-1B878C1E70DD}" srcId="{359E340C-4EF6-4EC4-A8DC-71B89AF1D1A9}" destId="{3ABEDC9E-78AD-4751-97A2-AD47C0AA462D}" srcOrd="2" destOrd="0" parTransId="{121B1554-D1FC-4ED0-97FA-4EBCC3B89A89}" sibTransId="{FB883861-A60B-4147-8112-E81A1C3584DF}"/>
    <dgm:cxn modelId="{DE9712B4-BF47-444F-A6BE-CD86266F400B}" type="presOf" srcId="{7755625E-788B-4A0D-9B2D-8D80BB3B0917}" destId="{2D6ACFB0-81B1-4F3D-A57D-6DDC4FD451FA}" srcOrd="0" destOrd="0" presId="urn:microsoft.com/office/officeart/2005/8/layout/chevron2"/>
    <dgm:cxn modelId="{E8ECCF60-DC98-409A-8F9B-1FD9605B4F2A}" srcId="{3AE35CA5-05D2-40FC-998A-5336565AD756}" destId="{3989A6D8-503F-4338-BAF2-C5E086948B1D}" srcOrd="0" destOrd="0" parTransId="{38F9473D-EE12-4B0B-8ADF-2691DAC18364}" sibTransId="{FC337475-1643-466A-B2EB-3CEBF2A44E9A}"/>
    <dgm:cxn modelId="{8A52DEB8-D259-482F-9C1E-D1F2FC360E27}" srcId="{8C71DFF7-8EE5-4F8C-8BC7-0A5180DDFB78}" destId="{359E340C-4EF6-4EC4-A8DC-71B89AF1D1A9}" srcOrd="2" destOrd="0" parTransId="{ADAE3C80-5CD3-48A9-8EDF-AB074ECC16BD}" sibTransId="{EEEA8AEF-C8FA-4912-B65E-F530726548B1}"/>
    <dgm:cxn modelId="{E8A4CFB0-75D2-44E1-9DF0-224BC209784F}" type="presOf" srcId="{3989A6D8-503F-4338-BAF2-C5E086948B1D}" destId="{D0968BA7-E687-4589-A549-F2231C4B25B8}" srcOrd="0" destOrd="0" presId="urn:microsoft.com/office/officeart/2005/8/layout/chevron2"/>
    <dgm:cxn modelId="{1D21BAB7-6F73-4294-AA48-C3877062CD04}" srcId="{359E340C-4EF6-4EC4-A8DC-71B89AF1D1A9}" destId="{C3214FDF-2A91-4B89-A561-84E16C060ED6}" srcOrd="0" destOrd="0" parTransId="{227BD1F6-5896-4E74-BEAC-FB0FDF7A7BA5}" sibTransId="{3FD21E49-F6D0-45A3-BE56-558599817DDE}"/>
    <dgm:cxn modelId="{C1D8E890-45CD-41AB-9211-6CB9C5444F05}" type="presOf" srcId="{D5D2C51A-CF5E-40E2-9214-CA7BA15761A6}" destId="{AE968A40-CEFD-4140-81A1-CC6354F6A64B}" srcOrd="0" destOrd="0" presId="urn:microsoft.com/office/officeart/2005/8/layout/chevron2"/>
    <dgm:cxn modelId="{BE5D2800-0041-44CD-AB26-CE9CF7491310}" type="presOf" srcId="{C3214FDF-2A91-4B89-A561-84E16C060ED6}" destId="{EBE91643-CF43-4F2D-A509-6F7EDA5FF4DE}" srcOrd="0" destOrd="0" presId="urn:microsoft.com/office/officeart/2005/8/layout/chevron2"/>
    <dgm:cxn modelId="{0202F369-646A-460A-A531-DBF50D4D0C2C}" type="presOf" srcId="{78256583-3E1D-4756-9059-0921AC0F0234}" destId="{2D6ACFB0-81B1-4F3D-A57D-6DDC4FD451FA}" srcOrd="0" destOrd="1" presId="urn:microsoft.com/office/officeart/2005/8/layout/chevron2"/>
    <dgm:cxn modelId="{FD49CAE8-A6F6-4E8E-9E5A-1267D4E5E486}" type="presOf" srcId="{3ABEDC9E-78AD-4751-97A2-AD47C0AA462D}" destId="{EBE91643-CF43-4F2D-A509-6F7EDA5FF4DE}" srcOrd="0" destOrd="2" presId="urn:microsoft.com/office/officeart/2005/8/layout/chevron2"/>
    <dgm:cxn modelId="{B765A884-8B5E-4EC7-A234-2F1FF24E5A67}" type="presOf" srcId="{E128944C-6D54-44BC-BF4E-AF0BA716AD7B}" destId="{162673EE-539F-4D63-A506-061D04E0B6B4}" srcOrd="0" destOrd="0" presId="urn:microsoft.com/office/officeart/2005/8/layout/chevron2"/>
    <dgm:cxn modelId="{DE351784-CE79-4621-8FC5-732EBB0EDB0D}" type="presOf" srcId="{1CC474A4-2E91-4B6B-BD69-41E6337ADA26}" destId="{85C5A5CE-DD99-4995-A166-D4B2663419F7}" srcOrd="0" destOrd="2" presId="urn:microsoft.com/office/officeart/2005/8/layout/chevron2"/>
    <dgm:cxn modelId="{B5AA44E2-BF54-4077-B839-4391C6926776}" srcId="{D5D2C51A-CF5E-40E2-9214-CA7BA15761A6}" destId="{E9B4428D-449F-47AB-8201-8425F386ACCB}" srcOrd="0" destOrd="0" parTransId="{C98CBE68-19DA-4E08-B97D-8EF6C42C49E5}" sibTransId="{8FE42260-13E1-411E-8AF0-663F9E633761}"/>
    <dgm:cxn modelId="{5415A501-75C0-45BE-B328-076C2C02E97B}" srcId="{7A03F702-6859-4298-8E92-8216F92308E5}" destId="{7755625E-788B-4A0D-9B2D-8D80BB3B0917}" srcOrd="0" destOrd="0" parTransId="{A5C6A0B7-3F0E-439A-B3DB-B1C2156D608B}" sibTransId="{0F534776-46D2-42A6-AEFD-70CBC850A135}"/>
    <dgm:cxn modelId="{FF0FD1D2-2EB6-4AA4-A354-9015B4D168B6}" type="presOf" srcId="{2C0E246A-3DC4-42A3-8D46-FBAD13911A17}" destId="{85C5A5CE-DD99-4995-A166-D4B2663419F7}" srcOrd="0" destOrd="1" presId="urn:microsoft.com/office/officeart/2005/8/layout/chevron2"/>
    <dgm:cxn modelId="{7E88BFE2-0B05-4E95-B05C-10EB9519EA0C}" type="presOf" srcId="{065E9CB9-BAE3-45B8-8A90-B065022F13E5}" destId="{EBE91643-CF43-4F2D-A509-6F7EDA5FF4DE}" srcOrd="0" destOrd="1" presId="urn:microsoft.com/office/officeart/2005/8/layout/chevron2"/>
    <dgm:cxn modelId="{E42737A6-60D7-4122-94B2-6803FF713AEF}" srcId="{8C71DFF7-8EE5-4F8C-8BC7-0A5180DDFB78}" destId="{E128944C-6D54-44BC-BF4E-AF0BA716AD7B}" srcOrd="0" destOrd="0" parTransId="{101E3FE7-2E6B-4217-937B-46D40F827E76}" sibTransId="{7C1489C4-4B3B-4580-97A2-368C1434B35F}"/>
    <dgm:cxn modelId="{FC142ED4-ECC1-4FE2-904C-B8C8DBFA89A1}" srcId="{8C71DFF7-8EE5-4F8C-8BC7-0A5180DDFB78}" destId="{7A03F702-6859-4298-8E92-8216F92308E5}" srcOrd="4" destOrd="0" parTransId="{D904AA6F-6349-4E04-A1EB-F756239F45DC}" sibTransId="{D3A3AED6-5BED-45AD-BDDB-B0FA87E754F5}"/>
    <dgm:cxn modelId="{22B57B2F-3E4F-4015-9D68-CEFA03F4B5C5}" type="presOf" srcId="{359E340C-4EF6-4EC4-A8DC-71B89AF1D1A9}" destId="{F9131BDA-1C48-4579-AAA0-8A672311AB4C}" srcOrd="0" destOrd="0" presId="urn:microsoft.com/office/officeart/2005/8/layout/chevron2"/>
    <dgm:cxn modelId="{BF20D09F-3E00-4613-AB42-2B21812515F1}" type="presOf" srcId="{3AE35CA5-05D2-40FC-998A-5336565AD756}" destId="{A494F658-1C7B-4177-86A3-7A9D7208817E}" srcOrd="0" destOrd="0" presId="urn:microsoft.com/office/officeart/2005/8/layout/chevron2"/>
    <dgm:cxn modelId="{D6505A87-3CE2-4544-A850-2768BF7AF458}" type="presOf" srcId="{6ADE86AD-0DD5-42E6-AE4C-13F8AB3AA7EC}" destId="{EBE91643-CF43-4F2D-A509-6F7EDA5FF4DE}" srcOrd="0" destOrd="3" presId="urn:microsoft.com/office/officeart/2005/8/layout/chevron2"/>
    <dgm:cxn modelId="{646D4D78-68B3-4BD8-8DB4-1D4511C8F80F}" srcId="{7A03F702-6859-4298-8E92-8216F92308E5}" destId="{78256583-3E1D-4756-9059-0921AC0F0234}" srcOrd="1" destOrd="0" parTransId="{40BFAF79-A929-4DA5-9C71-E5CDA9763583}" sibTransId="{3A2E9E6F-A95B-44BD-839E-E71667FFFA07}"/>
    <dgm:cxn modelId="{AC5E98E0-015B-473F-A9FD-692A9F3963D9}" srcId="{8C71DFF7-8EE5-4F8C-8BC7-0A5180DDFB78}" destId="{D5D2C51A-CF5E-40E2-9214-CA7BA15761A6}" srcOrd="3" destOrd="0" parTransId="{A8A4A2B7-AC16-4AAE-864A-7FD2EC56825E}" sibTransId="{ADF79B26-DBDA-45F1-B946-CEF580DE67B9}"/>
    <dgm:cxn modelId="{F28F9BDF-E611-41B7-8149-12BCECA76C6B}" srcId="{8C71DFF7-8EE5-4F8C-8BC7-0A5180DDFB78}" destId="{3AE35CA5-05D2-40FC-998A-5336565AD756}" srcOrd="1" destOrd="0" parTransId="{26B7BF3E-3E58-4519-9641-C00EBA3CD48D}" sibTransId="{20559C17-0758-4B73-A2BA-4E546FE54BAA}"/>
    <dgm:cxn modelId="{EC025D70-FF5F-4F9B-8252-9A1ACE68E191}" srcId="{D5D2C51A-CF5E-40E2-9214-CA7BA15761A6}" destId="{2C0E246A-3DC4-42A3-8D46-FBAD13911A17}" srcOrd="1" destOrd="0" parTransId="{5B6783BA-B6FF-43E7-AA70-3CA3EA1ACA58}" sibTransId="{8584D955-0F08-431C-B61D-B442163751D6}"/>
    <dgm:cxn modelId="{3C2C26D2-2365-45B8-8061-93BC0D3F7AEB}" srcId="{359E340C-4EF6-4EC4-A8DC-71B89AF1D1A9}" destId="{065E9CB9-BAE3-45B8-8A90-B065022F13E5}" srcOrd="1" destOrd="0" parTransId="{0BE41711-C800-449E-ADEF-9E5E7BEA8D03}" sibTransId="{372B0F80-4EBF-4173-8D9A-B943FC607122}"/>
    <dgm:cxn modelId="{796CD493-DEB1-4092-B9E4-F7B23EF9E2A5}" srcId="{359E340C-4EF6-4EC4-A8DC-71B89AF1D1A9}" destId="{6ADE86AD-0DD5-42E6-AE4C-13F8AB3AA7EC}" srcOrd="3" destOrd="0" parTransId="{DE8D0C71-4922-4C47-92DD-BFC2287763DF}" sibTransId="{76E7EA6E-8195-4736-9363-68B46A5752CC}"/>
    <dgm:cxn modelId="{C6623CC1-A88E-4D33-8AE2-A0B976C25A4A}" srcId="{D5D2C51A-CF5E-40E2-9214-CA7BA15761A6}" destId="{1CC474A4-2E91-4B6B-BD69-41E6337ADA26}" srcOrd="2" destOrd="0" parTransId="{E4B54556-27AA-453E-94C6-A587F638283B}" sibTransId="{8A4C15A6-AFEF-4D12-BD5D-F2335BE772AE}"/>
    <dgm:cxn modelId="{E7A69B19-28E3-4BBB-BB34-AA7FA309F5BF}" type="presOf" srcId="{B4EB20FC-134D-40D9-99D1-CC1E72FC3D06}" destId="{7F0ED20B-D878-43D0-B5C4-AA1A822BE051}" srcOrd="0" destOrd="0" presId="urn:microsoft.com/office/officeart/2005/8/layout/chevron2"/>
    <dgm:cxn modelId="{40FAE4D7-419A-46C1-843F-B5670AB09458}" srcId="{E128944C-6D54-44BC-BF4E-AF0BA716AD7B}" destId="{B4EB20FC-134D-40D9-99D1-CC1E72FC3D06}" srcOrd="0" destOrd="0" parTransId="{C2F4CCCC-A654-4F29-BBF3-56CB22D4CEE6}" sibTransId="{E4E17B4E-8D60-49F7-84A9-52DFAC927C3C}"/>
    <dgm:cxn modelId="{FCFCA816-6190-4D63-9FD7-59462A7010CF}" type="presParOf" srcId="{7983B306-D28A-43DF-84F0-552BF574F3CA}" destId="{B0F0754F-A22F-4842-B681-D3FD2F1322FD}" srcOrd="0" destOrd="0" presId="urn:microsoft.com/office/officeart/2005/8/layout/chevron2"/>
    <dgm:cxn modelId="{BDA5E6FA-51C6-4984-A34B-26A48E1E8E5A}" type="presParOf" srcId="{B0F0754F-A22F-4842-B681-D3FD2F1322FD}" destId="{162673EE-539F-4D63-A506-061D04E0B6B4}" srcOrd="0" destOrd="0" presId="urn:microsoft.com/office/officeart/2005/8/layout/chevron2"/>
    <dgm:cxn modelId="{5957A0B6-9FDD-4999-8ACC-4A70DC41F4E1}" type="presParOf" srcId="{B0F0754F-A22F-4842-B681-D3FD2F1322FD}" destId="{7F0ED20B-D878-43D0-B5C4-AA1A822BE051}" srcOrd="1" destOrd="0" presId="urn:microsoft.com/office/officeart/2005/8/layout/chevron2"/>
    <dgm:cxn modelId="{C3CE2BA2-55E3-4E80-B647-0332FB416702}" type="presParOf" srcId="{7983B306-D28A-43DF-84F0-552BF574F3CA}" destId="{737237BD-2E1B-40DD-9AB0-1267C6ED89FA}" srcOrd="1" destOrd="0" presId="urn:microsoft.com/office/officeart/2005/8/layout/chevron2"/>
    <dgm:cxn modelId="{8FA6AA8E-759F-49A5-812A-2E0596345365}" type="presParOf" srcId="{7983B306-D28A-43DF-84F0-552BF574F3CA}" destId="{0C0CBF12-9E71-432E-8814-30CE4AAF1ECC}" srcOrd="2" destOrd="0" presId="urn:microsoft.com/office/officeart/2005/8/layout/chevron2"/>
    <dgm:cxn modelId="{1F9DF75A-6749-4581-9751-C83CE300B4F5}" type="presParOf" srcId="{0C0CBF12-9E71-432E-8814-30CE4AAF1ECC}" destId="{A494F658-1C7B-4177-86A3-7A9D7208817E}" srcOrd="0" destOrd="0" presId="urn:microsoft.com/office/officeart/2005/8/layout/chevron2"/>
    <dgm:cxn modelId="{37471B9A-8ABD-4664-9234-61EBA08D8BCF}" type="presParOf" srcId="{0C0CBF12-9E71-432E-8814-30CE4AAF1ECC}" destId="{D0968BA7-E687-4589-A549-F2231C4B25B8}" srcOrd="1" destOrd="0" presId="urn:microsoft.com/office/officeart/2005/8/layout/chevron2"/>
    <dgm:cxn modelId="{95511E2D-373B-447B-9BAD-015C454E8A6A}" type="presParOf" srcId="{7983B306-D28A-43DF-84F0-552BF574F3CA}" destId="{A3A4B72E-9592-49EB-8B66-D1C49D93771E}" srcOrd="3" destOrd="0" presId="urn:microsoft.com/office/officeart/2005/8/layout/chevron2"/>
    <dgm:cxn modelId="{64CB859F-5463-4277-85D0-F505C639A7DF}" type="presParOf" srcId="{7983B306-D28A-43DF-84F0-552BF574F3CA}" destId="{1D02BF48-A045-493B-B141-13F40CDC256B}" srcOrd="4" destOrd="0" presId="urn:microsoft.com/office/officeart/2005/8/layout/chevron2"/>
    <dgm:cxn modelId="{B437330E-BF40-4330-8BED-02573C24E9D5}" type="presParOf" srcId="{1D02BF48-A045-493B-B141-13F40CDC256B}" destId="{F9131BDA-1C48-4579-AAA0-8A672311AB4C}" srcOrd="0" destOrd="0" presId="urn:microsoft.com/office/officeart/2005/8/layout/chevron2"/>
    <dgm:cxn modelId="{7B34449E-35A8-43A4-8B1C-7A3316DDDC2A}" type="presParOf" srcId="{1D02BF48-A045-493B-B141-13F40CDC256B}" destId="{EBE91643-CF43-4F2D-A509-6F7EDA5FF4DE}" srcOrd="1" destOrd="0" presId="urn:microsoft.com/office/officeart/2005/8/layout/chevron2"/>
    <dgm:cxn modelId="{E798CA63-8C15-480E-8123-9A3321EFDE67}" type="presParOf" srcId="{7983B306-D28A-43DF-84F0-552BF574F3CA}" destId="{1DE8D7D6-87A9-4366-A856-11364D78B4D7}" srcOrd="5" destOrd="0" presId="urn:microsoft.com/office/officeart/2005/8/layout/chevron2"/>
    <dgm:cxn modelId="{0D9A4A32-E90A-473A-8798-3712F041965E}" type="presParOf" srcId="{7983B306-D28A-43DF-84F0-552BF574F3CA}" destId="{2C65F27C-035E-4CE6-9A82-EDC3709DF0FD}" srcOrd="6" destOrd="0" presId="urn:microsoft.com/office/officeart/2005/8/layout/chevron2"/>
    <dgm:cxn modelId="{C9FF4BCA-154F-4408-AB49-CDDB3E9A838D}" type="presParOf" srcId="{2C65F27C-035E-4CE6-9A82-EDC3709DF0FD}" destId="{AE968A40-CEFD-4140-81A1-CC6354F6A64B}" srcOrd="0" destOrd="0" presId="urn:microsoft.com/office/officeart/2005/8/layout/chevron2"/>
    <dgm:cxn modelId="{14572CD0-0ACC-41E2-96C9-B62F43691640}" type="presParOf" srcId="{2C65F27C-035E-4CE6-9A82-EDC3709DF0FD}" destId="{85C5A5CE-DD99-4995-A166-D4B2663419F7}" srcOrd="1" destOrd="0" presId="urn:microsoft.com/office/officeart/2005/8/layout/chevron2"/>
    <dgm:cxn modelId="{428BE8EA-7DD4-4880-B674-6E5EB24D60D9}" type="presParOf" srcId="{7983B306-D28A-43DF-84F0-552BF574F3CA}" destId="{84F7A31A-5B78-48E1-90CC-35E69A474D6E}" srcOrd="7" destOrd="0" presId="urn:microsoft.com/office/officeart/2005/8/layout/chevron2"/>
    <dgm:cxn modelId="{11683D8E-D4D0-4CD5-9247-9AA2F1A14115}" type="presParOf" srcId="{7983B306-D28A-43DF-84F0-552BF574F3CA}" destId="{57F97F7D-A4C0-4FF3-B103-B5E4C6018803}" srcOrd="8" destOrd="0" presId="urn:microsoft.com/office/officeart/2005/8/layout/chevron2"/>
    <dgm:cxn modelId="{19897041-3DAA-4624-B3B7-919358BA1BBA}" type="presParOf" srcId="{57F97F7D-A4C0-4FF3-B103-B5E4C6018803}" destId="{2331B0DA-4071-4578-BCA4-24CCF44F6A27}" srcOrd="0" destOrd="0" presId="urn:microsoft.com/office/officeart/2005/8/layout/chevron2"/>
    <dgm:cxn modelId="{34519C56-2040-4467-BC82-2ADF1BE46ED5}" type="presParOf" srcId="{57F97F7D-A4C0-4FF3-B103-B5E4C6018803}" destId="{2D6ACFB0-81B1-4F3D-A57D-6DDC4FD451FA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2673EE-539F-4D63-A506-061D04E0B6B4}">
      <dsp:nvSpPr>
        <dsp:cNvPr id="0" name=""/>
        <dsp:cNvSpPr/>
      </dsp:nvSpPr>
      <dsp:spPr>
        <a:xfrm rot="5400000">
          <a:off x="-129611" y="131558"/>
          <a:ext cx="864076" cy="60485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kern="1200" dirty="0" smtClean="0"/>
            <a:t>数据系统</a:t>
          </a:r>
          <a:endParaRPr lang="zh-CN" altLang="en-US" sz="1000" kern="1200" dirty="0"/>
        </a:p>
      </dsp:txBody>
      <dsp:txXfrm rot="-5400000">
        <a:off x="1" y="304374"/>
        <a:ext cx="604853" cy="259223"/>
      </dsp:txXfrm>
    </dsp:sp>
    <dsp:sp modelId="{7F0ED20B-D878-43D0-B5C4-AA1A822BE051}">
      <dsp:nvSpPr>
        <dsp:cNvPr id="0" name=""/>
        <dsp:cNvSpPr/>
      </dsp:nvSpPr>
      <dsp:spPr>
        <a:xfrm rot="5400000">
          <a:off x="2113049" y="-1506248"/>
          <a:ext cx="561649" cy="3578041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6350" rIns="6350" bIns="63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000" kern="1200" dirty="0" smtClean="0"/>
            <a:t>源数据</a:t>
          </a:r>
          <a:endParaRPr lang="zh-CN" altLang="en-US" sz="1000" kern="1200" dirty="0"/>
        </a:p>
      </dsp:txBody>
      <dsp:txXfrm rot="-5400000">
        <a:off x="604854" y="29364"/>
        <a:ext cx="3550624" cy="506815"/>
      </dsp:txXfrm>
    </dsp:sp>
    <dsp:sp modelId="{A494F658-1C7B-4177-86A3-7A9D7208817E}">
      <dsp:nvSpPr>
        <dsp:cNvPr id="0" name=""/>
        <dsp:cNvSpPr/>
      </dsp:nvSpPr>
      <dsp:spPr>
        <a:xfrm rot="5400000">
          <a:off x="-129611" y="875172"/>
          <a:ext cx="864076" cy="60485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kern="1200" dirty="0" smtClean="0"/>
            <a:t>数据抽取</a:t>
          </a:r>
          <a:r>
            <a:rPr lang="en-US" altLang="zh-CN" sz="1000" kern="1200" dirty="0" smtClean="0"/>
            <a:t>&amp;</a:t>
          </a:r>
          <a:r>
            <a:rPr lang="zh-CN" altLang="en-US" sz="1000" kern="1200" dirty="0" smtClean="0"/>
            <a:t>加工</a:t>
          </a:r>
          <a:endParaRPr lang="zh-CN" altLang="en-US" sz="1000" kern="1200" dirty="0"/>
        </a:p>
      </dsp:txBody>
      <dsp:txXfrm rot="-5400000">
        <a:off x="1" y="1047988"/>
        <a:ext cx="604853" cy="259223"/>
      </dsp:txXfrm>
    </dsp:sp>
    <dsp:sp modelId="{D0968BA7-E687-4589-A549-F2231C4B25B8}">
      <dsp:nvSpPr>
        <dsp:cNvPr id="0" name=""/>
        <dsp:cNvSpPr/>
      </dsp:nvSpPr>
      <dsp:spPr>
        <a:xfrm rot="5400000">
          <a:off x="2112901" y="-762487"/>
          <a:ext cx="561944" cy="3578041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6350" rIns="6350" bIns="63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000" kern="1200" dirty="0" smtClean="0"/>
            <a:t>将源数据抽取并简单清洗加工</a:t>
          </a:r>
          <a:endParaRPr lang="zh-CN" altLang="en-US" sz="1000" kern="1200" dirty="0"/>
        </a:p>
      </dsp:txBody>
      <dsp:txXfrm rot="-5400000">
        <a:off x="604853" y="772993"/>
        <a:ext cx="3550609" cy="507080"/>
      </dsp:txXfrm>
    </dsp:sp>
    <dsp:sp modelId="{F9131BDA-1C48-4579-AAA0-8A672311AB4C}">
      <dsp:nvSpPr>
        <dsp:cNvPr id="0" name=""/>
        <dsp:cNvSpPr/>
      </dsp:nvSpPr>
      <dsp:spPr>
        <a:xfrm rot="5400000">
          <a:off x="-129611" y="1618785"/>
          <a:ext cx="864076" cy="60485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kern="1200" dirty="0" smtClean="0"/>
            <a:t>数据探索与预处理</a:t>
          </a:r>
          <a:endParaRPr lang="zh-CN" altLang="en-US" sz="1000" kern="1200" dirty="0"/>
        </a:p>
      </dsp:txBody>
      <dsp:txXfrm rot="-5400000">
        <a:off x="1" y="1791601"/>
        <a:ext cx="604853" cy="259223"/>
      </dsp:txXfrm>
    </dsp:sp>
    <dsp:sp modelId="{EBE91643-CF43-4F2D-A509-6F7EDA5FF4DE}">
      <dsp:nvSpPr>
        <dsp:cNvPr id="0" name=""/>
        <dsp:cNvSpPr/>
      </dsp:nvSpPr>
      <dsp:spPr>
        <a:xfrm rot="5400000">
          <a:off x="2113049" y="-19021"/>
          <a:ext cx="561649" cy="3578041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6350" rIns="6350" bIns="63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000" kern="1200" dirty="0" smtClean="0"/>
            <a:t>缺失值与异常值分析</a:t>
          </a:r>
          <a:endParaRPr lang="zh-CN" altLang="en-US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000" kern="1200" dirty="0" smtClean="0"/>
            <a:t>数据清洗</a:t>
          </a:r>
          <a:endParaRPr lang="zh-CN" altLang="en-US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000" kern="1200" dirty="0" smtClean="0"/>
            <a:t>属性规约</a:t>
          </a:r>
          <a:endParaRPr lang="zh-CN" altLang="en-US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000" kern="1200" dirty="0" smtClean="0"/>
            <a:t>数据变换</a:t>
          </a:r>
          <a:endParaRPr lang="zh-CN" altLang="en-US" sz="1000" kern="1200" dirty="0"/>
        </a:p>
      </dsp:txBody>
      <dsp:txXfrm rot="-5400000">
        <a:off x="604854" y="1516591"/>
        <a:ext cx="3550624" cy="506815"/>
      </dsp:txXfrm>
    </dsp:sp>
    <dsp:sp modelId="{AE968A40-CEFD-4140-81A1-CC6354F6A64B}">
      <dsp:nvSpPr>
        <dsp:cNvPr id="0" name=""/>
        <dsp:cNvSpPr/>
      </dsp:nvSpPr>
      <dsp:spPr>
        <a:xfrm rot="5400000">
          <a:off x="-129611" y="2362399"/>
          <a:ext cx="864076" cy="60485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kern="1200" dirty="0" smtClean="0"/>
            <a:t>建模</a:t>
          </a:r>
          <a:r>
            <a:rPr lang="en-US" altLang="zh-CN" sz="1000" kern="1200" dirty="0" smtClean="0"/>
            <a:t>&amp;</a:t>
          </a:r>
          <a:r>
            <a:rPr lang="zh-CN" altLang="en-US" sz="1000" kern="1200" dirty="0" smtClean="0"/>
            <a:t>应用</a:t>
          </a:r>
          <a:endParaRPr lang="zh-CN" altLang="en-US" sz="1000" kern="1200" dirty="0"/>
        </a:p>
      </dsp:txBody>
      <dsp:txXfrm rot="-5400000">
        <a:off x="1" y="2535215"/>
        <a:ext cx="604853" cy="259223"/>
      </dsp:txXfrm>
    </dsp:sp>
    <dsp:sp modelId="{85C5A5CE-DD99-4995-A166-D4B2663419F7}">
      <dsp:nvSpPr>
        <dsp:cNvPr id="0" name=""/>
        <dsp:cNvSpPr/>
      </dsp:nvSpPr>
      <dsp:spPr>
        <a:xfrm rot="5400000">
          <a:off x="2113049" y="724591"/>
          <a:ext cx="561649" cy="3578041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6350" rIns="6350" bIns="63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000" kern="1200" dirty="0" smtClean="0"/>
            <a:t>建模</a:t>
          </a:r>
          <a:endParaRPr lang="zh-CN" altLang="en-US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000" kern="1200" dirty="0" smtClean="0"/>
            <a:t>模型效果分析</a:t>
          </a:r>
          <a:endParaRPr lang="zh-CN" altLang="en-US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000" kern="1200" dirty="0" smtClean="0"/>
            <a:t>模型运用</a:t>
          </a:r>
          <a:endParaRPr lang="zh-CN" altLang="en-US" sz="1000" kern="1200" dirty="0"/>
        </a:p>
      </dsp:txBody>
      <dsp:txXfrm rot="-5400000">
        <a:off x="604854" y="2260204"/>
        <a:ext cx="3550624" cy="506815"/>
      </dsp:txXfrm>
    </dsp:sp>
    <dsp:sp modelId="{2331B0DA-4071-4578-BCA4-24CCF44F6A27}">
      <dsp:nvSpPr>
        <dsp:cNvPr id="0" name=""/>
        <dsp:cNvSpPr/>
      </dsp:nvSpPr>
      <dsp:spPr>
        <a:xfrm rot="5400000">
          <a:off x="-129611" y="3106013"/>
          <a:ext cx="864076" cy="604853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00" kern="1200" dirty="0" smtClean="0"/>
            <a:t>结果</a:t>
          </a:r>
          <a:r>
            <a:rPr lang="en-US" altLang="zh-CN" sz="1000" kern="1200" dirty="0" smtClean="0"/>
            <a:t>&amp;</a:t>
          </a:r>
          <a:r>
            <a:rPr lang="zh-CN" altLang="en-US" sz="1000" kern="1200" dirty="0" smtClean="0"/>
            <a:t>反馈</a:t>
          </a:r>
          <a:endParaRPr lang="zh-CN" altLang="en-US" sz="1000" kern="1200" dirty="0"/>
        </a:p>
      </dsp:txBody>
      <dsp:txXfrm rot="-5400000">
        <a:off x="1" y="3278829"/>
        <a:ext cx="604853" cy="259223"/>
      </dsp:txXfrm>
    </dsp:sp>
    <dsp:sp modelId="{2D6ACFB0-81B1-4F3D-A57D-6DDC4FD451FA}">
      <dsp:nvSpPr>
        <dsp:cNvPr id="0" name=""/>
        <dsp:cNvSpPr/>
      </dsp:nvSpPr>
      <dsp:spPr>
        <a:xfrm rot="5400000">
          <a:off x="2113049" y="1468205"/>
          <a:ext cx="561649" cy="3578041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6350" rIns="6350" bIns="63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000" kern="1200" dirty="0" smtClean="0"/>
            <a:t>应用结果反馈</a:t>
          </a:r>
          <a:endParaRPr lang="zh-CN" altLang="en-US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000" kern="1200" dirty="0" smtClean="0"/>
            <a:t>模型优化</a:t>
          </a:r>
          <a:endParaRPr lang="zh-CN" altLang="en-US" sz="1000" kern="1200" dirty="0"/>
        </a:p>
      </dsp:txBody>
      <dsp:txXfrm rot="-5400000">
        <a:off x="604854" y="3003818"/>
        <a:ext cx="3550624" cy="5068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  <a:t>2018/6/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967190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  <a:t>2018/6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64971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837353-30EB-4A48-80EB-173D804AEFBD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99906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18/6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/>
          </p:nvPr>
        </p:nvSpPr>
        <p:spPr>
          <a:xfrm>
            <a:off x="628650" y="273843"/>
            <a:ext cx="7886700" cy="4358879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18/6/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1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490" imgH="504" progId="TCLayout.ActiveDocument.1">
                  <p:embed/>
                </p:oleObj>
              </mc:Choice>
              <mc:Fallback>
                <p:oleObj name="think-cell Slide" r:id="rId4" imgW="490" imgH="50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4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899592" y="111967"/>
            <a:ext cx="6408712" cy="248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1793" baseline="0">
                <a:solidFill>
                  <a:schemeClr val="accent3">
                    <a:lumMod val="50000"/>
                  </a:schemeClr>
                </a:solidFill>
                <a:latin typeface="+mj-lt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文本模式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5802584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80069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17240" y="-9648"/>
            <a:ext cx="5050904" cy="421159"/>
          </a:xfrm>
          <a:prstGeom prst="rect">
            <a:avLst/>
          </a:prstGeom>
        </p:spPr>
        <p:txBody>
          <a:bodyPr/>
          <a:lstStyle>
            <a:lvl1pPr algn="l">
              <a:defRPr sz="1793" b="1">
                <a:solidFill>
                  <a:schemeClr val="accent3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78726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18/6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8"/>
            <a:ext cx="3886200" cy="3263504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8"/>
            <a:ext cx="3886200" cy="3263504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18/6/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90080" y="1333829"/>
            <a:ext cx="3655181" cy="617934"/>
          </a:xfrm>
        </p:spPr>
        <p:txBody>
          <a:bodyPr anchor="ctr" anchorCtr="0"/>
          <a:lstStyle>
            <a:lvl1pPr marL="0" indent="0">
              <a:buNone/>
              <a:defRPr sz="2100"/>
            </a:lvl1pPr>
            <a:lvl2pPr marL="342900" indent="0">
              <a:buNone/>
              <a:defRPr sz="1800"/>
            </a:lvl2pPr>
            <a:lvl3pPr marL="685800" indent="0">
              <a:buNone/>
              <a:defRPr sz="1500"/>
            </a:lvl3pPr>
            <a:lvl4pPr marL="1028700" indent="0">
              <a:buNone/>
              <a:defRPr sz="1400"/>
            </a:lvl4pPr>
            <a:lvl5pPr marL="1371600" indent="0">
              <a:buNone/>
              <a:defRPr sz="1400"/>
            </a:lvl5pPr>
            <a:lvl6pPr marL="1714500" indent="0">
              <a:buNone/>
              <a:defRPr sz="1400"/>
            </a:lvl6pPr>
            <a:lvl7pPr marL="2057400" indent="0">
              <a:buNone/>
              <a:defRPr sz="1400"/>
            </a:lvl7pPr>
            <a:lvl8pPr marL="2400300" indent="0">
              <a:buNone/>
              <a:defRPr sz="1400"/>
            </a:lvl8pPr>
            <a:lvl9pPr marL="27432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90080" y="1999034"/>
            <a:ext cx="3655181" cy="2643213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92704" y="1333829"/>
            <a:ext cx="3673182" cy="617934"/>
          </a:xfrm>
        </p:spPr>
        <p:txBody>
          <a:bodyPr anchor="ctr" anchorCtr="0"/>
          <a:lstStyle>
            <a:lvl1pPr marL="0" indent="0">
              <a:buNone/>
              <a:defRPr sz="2100"/>
            </a:lvl1pPr>
            <a:lvl2pPr marL="342900" indent="0">
              <a:buNone/>
              <a:defRPr sz="1800"/>
            </a:lvl2pPr>
            <a:lvl3pPr marL="685800" indent="0">
              <a:buNone/>
              <a:defRPr sz="1500"/>
            </a:lvl3pPr>
            <a:lvl4pPr marL="1028700" indent="0">
              <a:buNone/>
              <a:defRPr sz="1400"/>
            </a:lvl4pPr>
            <a:lvl5pPr marL="1371600" indent="0">
              <a:buNone/>
              <a:defRPr sz="1400"/>
            </a:lvl5pPr>
            <a:lvl6pPr marL="1714500" indent="0">
              <a:buNone/>
              <a:defRPr sz="1400"/>
            </a:lvl6pPr>
            <a:lvl7pPr marL="2057400" indent="0">
              <a:buNone/>
              <a:defRPr sz="1400"/>
            </a:lvl7pPr>
            <a:lvl8pPr marL="2400300" indent="0">
              <a:buNone/>
              <a:defRPr sz="1400"/>
            </a:lvl8pPr>
            <a:lvl9pPr marL="27432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92704" y="1999034"/>
            <a:ext cx="3673182" cy="2643213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18/6/8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18/6/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18/6/8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3124012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342900"/>
            <a:ext cx="4629150" cy="4052888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3124012" cy="2858691"/>
          </a:xfrm>
        </p:spPr>
        <p:txBody>
          <a:bodyPr/>
          <a:lstStyle>
            <a:lvl1pPr marL="0" indent="0">
              <a:buNone/>
              <a:defRPr sz="1500"/>
            </a:lvl1pPr>
            <a:lvl2pPr marL="342900" indent="0">
              <a:buNone/>
              <a:defRPr sz="1400"/>
            </a:lvl2pPr>
            <a:lvl3pPr marL="685800" indent="0">
              <a:buNone/>
              <a:defRPr sz="1200"/>
            </a:lvl3pPr>
            <a:lvl4pPr marL="1028700" indent="0">
              <a:buNone/>
              <a:defRPr sz="1100"/>
            </a:lvl4pPr>
            <a:lvl5pPr marL="1371600" indent="0">
              <a:buNone/>
              <a:defRPr sz="1100"/>
            </a:lvl5pPr>
            <a:lvl6pPr marL="1714500" indent="0">
              <a:buNone/>
              <a:defRPr sz="1100"/>
            </a:lvl6pPr>
            <a:lvl7pPr marL="2057400" indent="0">
              <a:buNone/>
              <a:defRPr sz="1100"/>
            </a:lvl7pPr>
            <a:lvl8pPr marL="2400300" indent="0">
              <a:buNone/>
              <a:defRPr sz="1100"/>
            </a:lvl8pPr>
            <a:lvl9pPr marL="2743200" indent="0">
              <a:buNone/>
              <a:defRPr sz="11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18/6/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273843"/>
            <a:ext cx="1971675" cy="4358879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273843"/>
            <a:ext cx="5800725" cy="4358879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18/6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37795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369218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288E0-7875-42C4-84C8-98DBBD3BF4D2}" type="datetimeFigureOut">
              <a:rPr lang="zh-CN" altLang="en-US" smtClean="0"/>
              <a:t>2018/6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7.xml"/><Relationship Id="rId7" Type="http://schemas.openxmlformats.org/officeDocument/2006/relationships/image" Target="../media/image11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0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3387576" y="1582090"/>
            <a:ext cx="5340191" cy="71558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zh-CN" altLang="en-US" sz="4200" b="1" dirty="0" smtClean="0">
                <a:solidFill>
                  <a:srgbClr val="1B4367"/>
                </a:solidFill>
                <a:cs typeface="+mn-ea"/>
                <a:sym typeface="+mn-lt"/>
              </a:rPr>
              <a:t>用户价值分析模型</a:t>
            </a:r>
            <a:endParaRPr lang="zh-CN" altLang="en-US" sz="4200" b="1" dirty="0">
              <a:solidFill>
                <a:srgbClr val="1B4367"/>
              </a:solidFill>
              <a:cs typeface="+mn-ea"/>
              <a:sym typeface="+mn-lt"/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3458668" y="2626926"/>
            <a:ext cx="3336584" cy="306467"/>
          </a:xfrm>
          <a:prstGeom prst="roundRect">
            <a:avLst/>
          </a:prstGeom>
          <a:solidFill>
            <a:srgbClr val="1B4367"/>
          </a:solidFill>
        </p:spPr>
        <p:txBody>
          <a:bodyPr wrap="square" rtlCol="0">
            <a:spAutoFit/>
          </a:bodyPr>
          <a:lstStyle/>
          <a:p>
            <a:endParaRPr lang="zh-CN" altLang="en-US" sz="12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850"/>
                            </p:stCondLst>
                            <p:childTnLst>
                              <p:par>
                                <p:cTn id="13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21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445392"/>
              </p:ext>
            </p:extLst>
          </p:nvPr>
        </p:nvGraphicFramePr>
        <p:xfrm>
          <a:off x="1187" y="17716"/>
          <a:ext cx="1186" cy="11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87" y="17716"/>
                        <a:ext cx="1186" cy="11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>
            <p:custDataLst>
              <p:tags r:id="rId3"/>
            </p:custDataLst>
          </p:nvPr>
        </p:nvSpPr>
        <p:spPr bwMode="auto">
          <a:xfrm>
            <a:off x="0" y="16530"/>
            <a:ext cx="118599" cy="118599"/>
          </a:xfrm>
          <a:prstGeom prst="rect">
            <a:avLst/>
          </a:prstGeom>
          <a:solidFill>
            <a:schemeClr val="accent1"/>
          </a:solidFill>
          <a:ln w="19050" algn="ctr">
            <a:noFill/>
            <a:round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68916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endParaRPr lang="zh-CN" altLang="en-US" sz="1046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17240" y="110932"/>
            <a:ext cx="5050904" cy="24833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r>
              <a:rPr lang="zh-CN" altLang="en-US" dirty="0">
                <a:solidFill>
                  <a:srgbClr val="526DB0">
                    <a:lumMod val="50000"/>
                  </a:srgbClr>
                </a:solidFill>
                <a:latin typeface="+mj-lt"/>
              </a:rPr>
              <a:t>案例</a:t>
            </a:r>
          </a:p>
        </p:txBody>
      </p:sp>
      <p:sp>
        <p:nvSpPr>
          <p:cNvPr id="14" name="标题 1"/>
          <p:cNvSpPr txBox="1">
            <a:spLocks/>
          </p:cNvSpPr>
          <p:nvPr/>
        </p:nvSpPr>
        <p:spPr bwMode="auto">
          <a:xfrm>
            <a:off x="46641" y="107861"/>
            <a:ext cx="694852" cy="274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669027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52374" algn="l"/>
              </a:tabLst>
              <a:defRPr sz="2400" b="1" baseline="0">
                <a:solidFill>
                  <a:schemeClr val="accent3">
                    <a:lumMod val="50000"/>
                  </a:schemeClr>
                </a:solidFill>
                <a:latin typeface="+mj-lt"/>
                <a:ea typeface="微软雅黑" panose="020B0503020204020204" pitchFamily="34" charset="-122"/>
                <a:cs typeface="+mj-cs"/>
              </a:defRPr>
            </a:lvl1pPr>
            <a:lvl2pPr algn="l" defTabSz="669027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52374" algn="l"/>
              </a:tabLst>
              <a:defRPr sz="14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2pPr>
            <a:lvl3pPr algn="l" defTabSz="669027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52374" algn="l"/>
              </a:tabLst>
              <a:defRPr sz="14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3pPr>
            <a:lvl4pPr algn="l" defTabSz="669027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52374" algn="l"/>
              </a:tabLst>
              <a:defRPr sz="14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4pPr>
            <a:lvl5pPr algn="l" defTabSz="669027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52374" algn="l"/>
              </a:tabLst>
              <a:defRPr sz="14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5pPr>
            <a:lvl6pPr marL="342185" algn="l" defTabSz="670128" rtl="0" fontAlgn="base">
              <a:spcBef>
                <a:spcPct val="0"/>
              </a:spcBef>
              <a:spcAft>
                <a:spcPct val="0"/>
              </a:spcAft>
              <a:tabLst>
                <a:tab pos="253081" algn="l"/>
              </a:tabLst>
              <a:defRPr sz="21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6pPr>
            <a:lvl7pPr marL="684387" algn="l" defTabSz="670128" rtl="0" fontAlgn="base">
              <a:spcBef>
                <a:spcPct val="0"/>
              </a:spcBef>
              <a:spcAft>
                <a:spcPct val="0"/>
              </a:spcAft>
              <a:tabLst>
                <a:tab pos="253081" algn="l"/>
              </a:tabLst>
              <a:defRPr sz="21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7pPr>
            <a:lvl8pPr marL="1026581" algn="l" defTabSz="670128" rtl="0" fontAlgn="base">
              <a:spcBef>
                <a:spcPct val="0"/>
              </a:spcBef>
              <a:spcAft>
                <a:spcPct val="0"/>
              </a:spcAft>
              <a:tabLst>
                <a:tab pos="253081" algn="l"/>
              </a:tabLst>
              <a:defRPr sz="21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8pPr>
            <a:lvl9pPr marL="1368772" algn="l" defTabSz="670128" rtl="0" fontAlgn="base">
              <a:spcBef>
                <a:spcPct val="0"/>
              </a:spcBef>
              <a:spcAft>
                <a:spcPct val="0"/>
              </a:spcAft>
              <a:tabLst>
                <a:tab pos="253081" algn="l"/>
              </a:tabLst>
              <a:defRPr sz="21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9pPr>
          </a:lstStyle>
          <a:p>
            <a:pPr algn="ctr"/>
            <a:r>
              <a:rPr lang="en-US" altLang="zh-CN" sz="2078" kern="0" dirty="0">
                <a:solidFill>
                  <a:srgbClr val="FFFFFF"/>
                </a:solidFill>
                <a:latin typeface="微软雅黑" panose="020B0503020204020204" pitchFamily="34" charset="-122"/>
              </a:rPr>
              <a:t>1.2</a:t>
            </a:r>
            <a:endParaRPr lang="zh-CN" altLang="en-US" sz="2078" kern="0" dirty="0">
              <a:solidFill>
                <a:srgbClr val="FFFFFF"/>
              </a:solidFill>
              <a:latin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 bwMode="auto">
          <a:xfrm>
            <a:off x="394067" y="677551"/>
            <a:ext cx="1452488" cy="206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marL="213484" indent="-213484">
              <a:buFont typeface="Wingdings" panose="05000000000000000000" pitchFamily="2" charset="2"/>
              <a:buChar char="u"/>
            </a:pPr>
            <a:r>
              <a:rPr lang="zh-CN" altLang="en-US" sz="1345" b="1" dirty="0">
                <a:solidFill>
                  <a:schemeClr val="accent3">
                    <a:lumMod val="75000"/>
                  </a:schemeClr>
                </a:solidFill>
                <a:latin typeface="+mn-ea"/>
              </a:rPr>
              <a:t>案例背景</a:t>
            </a:r>
          </a:p>
        </p:txBody>
      </p:sp>
      <p:sp>
        <p:nvSpPr>
          <p:cNvPr id="9" name="圆角矩形 8"/>
          <p:cNvSpPr/>
          <p:nvPr/>
        </p:nvSpPr>
        <p:spPr bwMode="auto">
          <a:xfrm>
            <a:off x="394067" y="668600"/>
            <a:ext cx="7782256" cy="938661"/>
          </a:xfrm>
          <a:prstGeom prst="roundRect">
            <a:avLst/>
          </a:prstGeom>
          <a:noFill/>
          <a:ln w="19050" algn="ctr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defTabSz="668916">
              <a:lnSpc>
                <a:spcPct val="200000"/>
              </a:lnSpc>
              <a:buSzPct val="120000"/>
            </a:pPr>
            <a:r>
              <a:rPr lang="zh-CN" altLang="en-US" sz="1195" b="1" dirty="0">
                <a:latin typeface="+mn-ea"/>
              </a:rPr>
              <a:t>根据商城场景的京东支付交易用户的订单量（</a:t>
            </a:r>
            <a:r>
              <a:rPr lang="en-US" altLang="zh-CN" sz="1195" b="1" dirty="0">
                <a:latin typeface="+mn-ea"/>
              </a:rPr>
              <a:t>F</a:t>
            </a:r>
            <a:r>
              <a:rPr lang="zh-CN" altLang="en-US" sz="1195" b="1" dirty="0">
                <a:latin typeface="+mn-ea"/>
              </a:rPr>
              <a:t>），交易金额（</a:t>
            </a:r>
            <a:r>
              <a:rPr lang="en-US" altLang="zh-CN" sz="1195" b="1" dirty="0">
                <a:latin typeface="+mn-ea"/>
              </a:rPr>
              <a:t>M</a:t>
            </a:r>
            <a:r>
              <a:rPr lang="zh-CN" altLang="en-US" sz="1195" b="1" dirty="0">
                <a:latin typeface="+mn-ea"/>
              </a:rPr>
              <a:t>）</a:t>
            </a:r>
            <a:r>
              <a:rPr lang="en-US" altLang="zh-CN" sz="1195" b="1" dirty="0">
                <a:latin typeface="+mn-ea"/>
              </a:rPr>
              <a:t>,</a:t>
            </a:r>
            <a:r>
              <a:rPr lang="zh-CN" altLang="en-US" sz="1195" b="1" dirty="0">
                <a:latin typeface="+mn-ea"/>
              </a:rPr>
              <a:t>交易时间（</a:t>
            </a:r>
            <a:r>
              <a:rPr lang="en-US" altLang="zh-CN" sz="1195" b="1" dirty="0">
                <a:latin typeface="+mn-ea"/>
              </a:rPr>
              <a:t>R</a:t>
            </a:r>
            <a:r>
              <a:rPr lang="zh-CN" altLang="en-US" sz="1195" b="1" dirty="0">
                <a:latin typeface="+mn-ea"/>
              </a:rPr>
              <a:t>），将支付用户划分不同群体。</a:t>
            </a:r>
            <a:endParaRPr lang="zh-CN" altLang="en-US" sz="1195" b="1" dirty="0">
              <a:latin typeface="+mn-ea"/>
            </a:endParaRPr>
          </a:p>
        </p:txBody>
      </p:sp>
      <p:sp>
        <p:nvSpPr>
          <p:cNvPr id="10" name="文本框 9"/>
          <p:cNvSpPr txBox="1"/>
          <p:nvPr/>
        </p:nvSpPr>
        <p:spPr bwMode="auto">
          <a:xfrm>
            <a:off x="394067" y="1650910"/>
            <a:ext cx="1452488" cy="206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marL="213484" indent="-213484">
              <a:buFont typeface="Wingdings" panose="05000000000000000000" pitchFamily="2" charset="2"/>
              <a:buChar char="u"/>
            </a:pPr>
            <a:r>
              <a:rPr lang="zh-CN" altLang="en-US" sz="1345" b="1" dirty="0">
                <a:solidFill>
                  <a:schemeClr val="accent3">
                    <a:lumMod val="75000"/>
                  </a:schemeClr>
                </a:solidFill>
                <a:latin typeface="+mn-ea"/>
              </a:rPr>
              <a:t>结果</a:t>
            </a:r>
            <a:endParaRPr lang="zh-CN" altLang="en-US" sz="1345" b="1" dirty="0">
              <a:solidFill>
                <a:schemeClr val="accent3">
                  <a:lumMod val="75000"/>
                </a:schemeClr>
              </a:solidFill>
              <a:latin typeface="+mn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331" y="2033791"/>
            <a:ext cx="4787832" cy="2859136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2733" y="2033792"/>
            <a:ext cx="3389140" cy="2859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071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924130" y="933855"/>
            <a:ext cx="475682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目标：</a:t>
            </a:r>
            <a:r>
              <a:rPr lang="zh-CN" altLang="en-US" dirty="0" smtClean="0"/>
              <a:t>分析白条用户</a:t>
            </a:r>
            <a:r>
              <a:rPr lang="zh-CN" altLang="en-US" dirty="0"/>
              <a:t>价值分类，划分客户</a:t>
            </a:r>
            <a:r>
              <a:rPr lang="zh-CN" altLang="en-US" dirty="0" smtClean="0"/>
              <a:t>群体</a:t>
            </a:r>
            <a:endParaRPr lang="en-US" altLang="zh-CN" dirty="0" smtClean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zh-CN" altLang="en-US" dirty="0" smtClean="0"/>
              <a:t>模型选取</a:t>
            </a:r>
            <a:r>
              <a:rPr lang="en-US" altLang="zh-CN" dirty="0" smtClean="0"/>
              <a:t>RFM</a:t>
            </a:r>
            <a:r>
              <a:rPr lang="zh-CN" altLang="en-US" dirty="0" smtClean="0"/>
              <a:t>模型，并扩充维度，如下：</a:t>
            </a:r>
            <a:endParaRPr lang="zh-CN" altLang="en-US" dirty="0"/>
          </a:p>
        </p:txBody>
      </p:sp>
      <p:graphicFrame>
        <p:nvGraphicFramePr>
          <p:cNvPr id="3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9108458"/>
              </p:ext>
            </p:extLst>
          </p:nvPr>
        </p:nvGraphicFramePr>
        <p:xfrm>
          <a:off x="924130" y="2689563"/>
          <a:ext cx="7723758" cy="1530296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1103394"/>
                <a:gridCol w="1103394"/>
                <a:gridCol w="1103394"/>
                <a:gridCol w="1103394"/>
                <a:gridCol w="1103394"/>
                <a:gridCol w="1103394"/>
                <a:gridCol w="1103394"/>
              </a:tblGrid>
              <a:tr h="433016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 smtClean="0"/>
                        <a:t>模型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L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R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F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M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M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C</a:t>
                      </a:r>
                      <a:endParaRPr lang="zh-CN" altLang="en-US" dirty="0"/>
                    </a:p>
                  </a:txBody>
                  <a:tcPr/>
                </a:tc>
              </a:tr>
              <a:tr h="693163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dirty="0" smtClean="0">
                          <a:latin typeface="+mn-ea"/>
                          <a:ea typeface="+mn-ea"/>
                        </a:rPr>
                        <a:t>LRFMC</a:t>
                      </a:r>
                      <a:endParaRPr lang="zh-CN" altLang="en-US" sz="1100" dirty="0"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 smtClean="0">
                          <a:latin typeface="+mn-ea"/>
                          <a:ea typeface="+mn-ea"/>
                        </a:rPr>
                        <a:t>用户开通白条时间距观察窗口结束时间的天数</a:t>
                      </a:r>
                      <a:endParaRPr lang="zh-CN" altLang="en-US" sz="11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 smtClean="0">
                          <a:latin typeface="+mn-ea"/>
                          <a:ea typeface="+mn-ea"/>
                        </a:rPr>
                        <a:t>用户最近一次白条消费距观察窗口结束时间的天数</a:t>
                      </a:r>
                      <a:endParaRPr lang="zh-CN" altLang="en-US" sz="11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dirty="0" smtClean="0">
                          <a:latin typeface="+mn-ea"/>
                          <a:ea typeface="+mn-ea"/>
                        </a:rPr>
                        <a:t>用户在观察窗口内用白条消费的次数</a:t>
                      </a:r>
                      <a:endParaRPr lang="zh-CN" altLang="en-US" sz="11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dirty="0" smtClean="0">
                          <a:latin typeface="+mn-ea"/>
                          <a:ea typeface="+mn-ea"/>
                        </a:rPr>
                        <a:t>用户在观察窗口内用白条消费的金额</a:t>
                      </a:r>
                    </a:p>
                    <a:p>
                      <a:pPr algn="ctr"/>
                      <a:endParaRPr lang="zh-CN" altLang="en-US" sz="11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dirty="0" smtClean="0">
                          <a:latin typeface="+mn-ea"/>
                          <a:ea typeface="+mn-ea"/>
                        </a:rPr>
                        <a:t>用户在观察窗口内用白条分期的金额</a:t>
                      </a:r>
                    </a:p>
                    <a:p>
                      <a:pPr algn="ctr"/>
                      <a:endParaRPr lang="zh-CN" altLang="en-US" sz="1100" dirty="0"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dirty="0" smtClean="0">
                          <a:latin typeface="+mn-ea"/>
                          <a:ea typeface="+mn-ea"/>
                        </a:rPr>
                        <a:t>用户在观察窗口内用白条分期的平均费率（分期费用</a:t>
                      </a:r>
                      <a:r>
                        <a:rPr lang="en-US" altLang="zh-CN" sz="1100" dirty="0" smtClean="0"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100" dirty="0" smtClean="0">
                          <a:latin typeface="+mn-ea"/>
                          <a:ea typeface="+mn-ea"/>
                        </a:rPr>
                        <a:t>分期金额）</a:t>
                      </a:r>
                    </a:p>
                    <a:p>
                      <a:pPr algn="ctr"/>
                      <a:endParaRPr lang="zh-CN" altLang="en-US" sz="1100" dirty="0">
                        <a:latin typeface="+mn-ea"/>
                        <a:ea typeface="+mn-ea"/>
                      </a:endParaRPr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7" name="组合 6"/>
          <p:cNvGrpSpPr/>
          <p:nvPr/>
        </p:nvGrpSpPr>
        <p:grpSpPr>
          <a:xfrm>
            <a:off x="161254" y="163032"/>
            <a:ext cx="2003590" cy="369332"/>
            <a:chOff x="161254" y="163032"/>
            <a:chExt cx="2003590" cy="369332"/>
          </a:xfrm>
        </p:grpSpPr>
        <p:sp>
          <p:nvSpPr>
            <p:cNvPr id="5" name="文本框 4"/>
            <p:cNvSpPr txBox="1"/>
            <p:nvPr/>
          </p:nvSpPr>
          <p:spPr>
            <a:xfrm>
              <a:off x="364351" y="163032"/>
              <a:ext cx="180049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800" b="1" dirty="0" smtClean="0">
                  <a:solidFill>
                    <a:schemeClr val="accent5">
                      <a:lumMod val="75000"/>
                    </a:schemeClr>
                  </a:solidFill>
                  <a:latin typeface="+mj-ea"/>
                  <a:ea typeface="+mj-ea"/>
                </a:rPr>
                <a:t>目标与模型选取</a:t>
              </a:r>
              <a:endParaRPr lang="zh-CN" altLang="en-US" sz="1800" b="1" dirty="0">
                <a:solidFill>
                  <a:schemeClr val="accent5">
                    <a:lumMod val="75000"/>
                  </a:schemeClr>
                </a:solidFill>
                <a:latin typeface="+mj-ea"/>
                <a:ea typeface="+mj-ea"/>
              </a:endParaRPr>
            </a:p>
          </p:txBody>
        </p:sp>
        <p:sp>
          <p:nvSpPr>
            <p:cNvPr id="6" name="等腰三角形 5"/>
            <p:cNvSpPr/>
            <p:nvPr/>
          </p:nvSpPr>
          <p:spPr>
            <a:xfrm rot="5400000">
              <a:off x="140694" y="246149"/>
              <a:ext cx="244217" cy="203097"/>
            </a:xfrm>
            <a:prstGeom prst="triangle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428918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161254" y="163032"/>
            <a:ext cx="1982751" cy="369332"/>
            <a:chOff x="161254" y="163032"/>
            <a:chExt cx="1982751" cy="369332"/>
          </a:xfrm>
        </p:grpSpPr>
        <p:sp>
          <p:nvSpPr>
            <p:cNvPr id="3" name="文本框 2"/>
            <p:cNvSpPr txBox="1"/>
            <p:nvPr/>
          </p:nvSpPr>
          <p:spPr>
            <a:xfrm>
              <a:off x="364351" y="163032"/>
              <a:ext cx="177965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800" b="1" dirty="0" smtClean="0">
                  <a:solidFill>
                    <a:schemeClr val="accent5">
                      <a:lumMod val="75000"/>
                    </a:schemeClr>
                  </a:solidFill>
                  <a:latin typeface="+mj-ea"/>
                  <a:ea typeface="+mj-ea"/>
                </a:rPr>
                <a:t>数据抽取</a:t>
              </a:r>
              <a:r>
                <a:rPr lang="en-US" altLang="zh-CN" sz="1800" b="1" dirty="0" smtClean="0">
                  <a:solidFill>
                    <a:schemeClr val="accent5">
                      <a:lumMod val="75000"/>
                    </a:schemeClr>
                  </a:solidFill>
                  <a:latin typeface="+mj-ea"/>
                  <a:ea typeface="+mj-ea"/>
                </a:rPr>
                <a:t>&amp;</a:t>
              </a:r>
              <a:r>
                <a:rPr lang="zh-CN" altLang="en-US" sz="1800" b="1" dirty="0" smtClean="0">
                  <a:solidFill>
                    <a:schemeClr val="accent5">
                      <a:lumMod val="75000"/>
                    </a:schemeClr>
                  </a:solidFill>
                  <a:latin typeface="+mj-ea"/>
                  <a:ea typeface="+mj-ea"/>
                </a:rPr>
                <a:t>加工</a:t>
              </a:r>
              <a:endParaRPr lang="zh-CN" altLang="en-US" sz="1800" b="1" dirty="0">
                <a:solidFill>
                  <a:schemeClr val="accent5">
                    <a:lumMod val="75000"/>
                  </a:schemeClr>
                </a:solidFill>
                <a:latin typeface="+mj-ea"/>
                <a:ea typeface="+mj-ea"/>
              </a:endParaRPr>
            </a:p>
          </p:txBody>
        </p:sp>
        <p:sp>
          <p:nvSpPr>
            <p:cNvPr id="4" name="等腰三角形 3"/>
            <p:cNvSpPr/>
            <p:nvPr/>
          </p:nvSpPr>
          <p:spPr>
            <a:xfrm rot="5400000">
              <a:off x="140694" y="246149"/>
              <a:ext cx="244217" cy="203097"/>
            </a:xfrm>
            <a:prstGeom prst="triangle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aphicFrame>
        <p:nvGraphicFramePr>
          <p:cNvPr id="5" name="图表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2831297"/>
              </p:ext>
            </p:extLst>
          </p:nvPr>
        </p:nvGraphicFramePr>
        <p:xfrm>
          <a:off x="262802" y="1874722"/>
          <a:ext cx="4015263" cy="2718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图表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5877921"/>
              </p:ext>
            </p:extLst>
          </p:nvPr>
        </p:nvGraphicFramePr>
        <p:xfrm>
          <a:off x="4540102" y="1874723"/>
          <a:ext cx="4603898" cy="27113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文本框 6"/>
          <p:cNvSpPr txBox="1"/>
          <p:nvPr/>
        </p:nvSpPr>
        <p:spPr>
          <a:xfrm>
            <a:off x="637953" y="941933"/>
            <a:ext cx="808747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近一年</a:t>
            </a:r>
            <a:r>
              <a:rPr lang="en-US" altLang="zh-CN" dirty="0" smtClean="0"/>
              <a:t>90%</a:t>
            </a:r>
            <a:r>
              <a:rPr lang="zh-CN" altLang="en-US" dirty="0" smtClean="0"/>
              <a:t>的白条用户平均消费时间间隔及最后两次消费时间间隔都在</a:t>
            </a:r>
            <a:r>
              <a:rPr lang="en-US" altLang="zh-CN" dirty="0" smtClean="0"/>
              <a:t>90</a:t>
            </a:r>
            <a:r>
              <a:rPr lang="zh-CN" altLang="en-US" dirty="0" smtClean="0"/>
              <a:t>天以内，所以选取</a:t>
            </a:r>
            <a:r>
              <a:rPr lang="en-US" altLang="zh-CN" dirty="0" smtClean="0"/>
              <a:t>18</a:t>
            </a:r>
            <a:r>
              <a:rPr lang="zh-CN" altLang="en-US" dirty="0" smtClean="0"/>
              <a:t>年</a:t>
            </a:r>
            <a:r>
              <a:rPr lang="en-US" altLang="zh-CN" dirty="0" smtClean="0"/>
              <a:t>3</a:t>
            </a:r>
            <a:r>
              <a:rPr lang="zh-CN" altLang="en-US" dirty="0" smtClean="0"/>
              <a:t>月</a:t>
            </a:r>
            <a:endParaRPr lang="en-US" altLang="zh-CN" dirty="0" smtClean="0"/>
          </a:p>
          <a:p>
            <a:r>
              <a:rPr lang="zh-CN" altLang="en-US" dirty="0" smtClean="0"/>
              <a:t>至</a:t>
            </a:r>
            <a:r>
              <a:rPr lang="en-US" altLang="zh-CN" dirty="0" smtClean="0"/>
              <a:t>5</a:t>
            </a:r>
            <a:r>
              <a:rPr lang="zh-CN" altLang="en-US" dirty="0" smtClean="0"/>
              <a:t>月的白条消费数据。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41868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161254" y="163032"/>
            <a:ext cx="2234422" cy="369332"/>
            <a:chOff x="161254" y="163032"/>
            <a:chExt cx="2234422" cy="369332"/>
          </a:xfrm>
        </p:grpSpPr>
        <p:sp>
          <p:nvSpPr>
            <p:cNvPr id="3" name="文本框 2"/>
            <p:cNvSpPr txBox="1"/>
            <p:nvPr/>
          </p:nvSpPr>
          <p:spPr>
            <a:xfrm>
              <a:off x="364351" y="163032"/>
              <a:ext cx="203132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800" b="1" dirty="0" smtClean="0">
                  <a:solidFill>
                    <a:schemeClr val="accent5">
                      <a:lumMod val="75000"/>
                    </a:schemeClr>
                  </a:solidFill>
                  <a:latin typeface="+mj-ea"/>
                  <a:ea typeface="+mj-ea"/>
                </a:rPr>
                <a:t>数据探索与预处理</a:t>
              </a:r>
              <a:endParaRPr lang="zh-CN" altLang="en-US" sz="1800" b="1" dirty="0">
                <a:solidFill>
                  <a:schemeClr val="accent5">
                    <a:lumMod val="75000"/>
                  </a:schemeClr>
                </a:solidFill>
                <a:latin typeface="+mj-ea"/>
                <a:ea typeface="+mj-ea"/>
              </a:endParaRPr>
            </a:p>
          </p:txBody>
        </p:sp>
        <p:sp>
          <p:nvSpPr>
            <p:cNvPr id="4" name="等腰三角形 3"/>
            <p:cNvSpPr/>
            <p:nvPr/>
          </p:nvSpPr>
          <p:spPr>
            <a:xfrm rot="5400000">
              <a:off x="140694" y="246149"/>
              <a:ext cx="244217" cy="203097"/>
            </a:xfrm>
            <a:prstGeom prst="triangle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9964" y="1421291"/>
            <a:ext cx="5534025" cy="15240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9964" y="3445719"/>
            <a:ext cx="5738815" cy="1388944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778211" y="1090147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 smtClean="0"/>
              <a:t>清洗前：</a:t>
            </a:r>
            <a:endParaRPr lang="zh-CN" altLang="en-US" sz="1200" dirty="0"/>
          </a:p>
        </p:txBody>
      </p:sp>
      <p:sp>
        <p:nvSpPr>
          <p:cNvPr id="8" name="文本框 7"/>
          <p:cNvSpPr txBox="1"/>
          <p:nvPr/>
        </p:nvSpPr>
        <p:spPr>
          <a:xfrm>
            <a:off x="778212" y="3040018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 smtClean="0"/>
              <a:t>清洗后：</a:t>
            </a:r>
            <a:endParaRPr lang="zh-CN" altLang="en-US" sz="1200" dirty="0"/>
          </a:p>
        </p:txBody>
      </p:sp>
      <p:sp>
        <p:nvSpPr>
          <p:cNvPr id="9" name="文本框 8"/>
          <p:cNvSpPr txBox="1"/>
          <p:nvPr/>
        </p:nvSpPr>
        <p:spPr>
          <a:xfrm>
            <a:off x="778211" y="709717"/>
            <a:ext cx="49552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 smtClean="0"/>
              <a:t>对选取的变量做密度图，直方图，箱线图，探索各变量的数据分布。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4126863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161254" y="163032"/>
            <a:ext cx="2234422" cy="369332"/>
            <a:chOff x="161254" y="163032"/>
            <a:chExt cx="2234422" cy="369332"/>
          </a:xfrm>
        </p:grpSpPr>
        <p:sp>
          <p:nvSpPr>
            <p:cNvPr id="3" name="文本框 2"/>
            <p:cNvSpPr txBox="1"/>
            <p:nvPr/>
          </p:nvSpPr>
          <p:spPr>
            <a:xfrm>
              <a:off x="364351" y="163032"/>
              <a:ext cx="203132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800" b="1" dirty="0" smtClean="0">
                  <a:solidFill>
                    <a:schemeClr val="accent5">
                      <a:lumMod val="75000"/>
                    </a:schemeClr>
                  </a:solidFill>
                  <a:latin typeface="+mj-ea"/>
                  <a:ea typeface="+mj-ea"/>
                </a:rPr>
                <a:t>数据探索与预处理</a:t>
              </a:r>
              <a:endParaRPr lang="zh-CN" altLang="en-US" sz="1800" b="1" dirty="0">
                <a:solidFill>
                  <a:schemeClr val="accent5">
                    <a:lumMod val="75000"/>
                  </a:schemeClr>
                </a:solidFill>
                <a:latin typeface="+mj-ea"/>
                <a:ea typeface="+mj-ea"/>
              </a:endParaRPr>
            </a:p>
          </p:txBody>
        </p:sp>
        <p:sp>
          <p:nvSpPr>
            <p:cNvPr id="4" name="等腰三角形 3"/>
            <p:cNvSpPr/>
            <p:nvPr/>
          </p:nvSpPr>
          <p:spPr>
            <a:xfrm rot="5400000">
              <a:off x="140694" y="246149"/>
              <a:ext cx="244217" cy="203097"/>
            </a:xfrm>
            <a:prstGeom prst="triangle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5" name="矩形 4"/>
          <p:cNvSpPr/>
          <p:nvPr/>
        </p:nvSpPr>
        <p:spPr>
          <a:xfrm>
            <a:off x="872727" y="1444378"/>
            <a:ext cx="548639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smtClean="0">
                <a:solidFill>
                  <a:srgbClr val="333333"/>
                </a:solidFill>
                <a:latin typeface="Helvetica" panose="020B0604020202020204" pitchFamily="34" charset="0"/>
              </a:rPr>
              <a:t>1</a:t>
            </a:r>
            <a:r>
              <a:rPr lang="zh-CN" altLang="en-US" dirty="0" smtClean="0">
                <a:solidFill>
                  <a:srgbClr val="333333"/>
                </a:solidFill>
                <a:latin typeface="Helvetica" panose="020B0604020202020204" pitchFamily="34" charset="0"/>
              </a:rPr>
              <a:t>、离差</a:t>
            </a:r>
            <a:r>
              <a:rPr lang="zh-CN" altLang="en-US" dirty="0">
                <a:solidFill>
                  <a:srgbClr val="333333"/>
                </a:solidFill>
                <a:latin typeface="Helvetica" panose="020B0604020202020204" pitchFamily="34" charset="0"/>
              </a:rPr>
              <a:t>标准化，是对原始数据的线性变换，使结果映射到</a:t>
            </a:r>
            <a:r>
              <a:rPr lang="en-US" altLang="zh-CN" dirty="0">
                <a:solidFill>
                  <a:srgbClr val="333333"/>
                </a:solidFill>
                <a:latin typeface="Helvetica" panose="020B0604020202020204" pitchFamily="34" charset="0"/>
              </a:rPr>
              <a:t>[0,1]</a:t>
            </a:r>
            <a:r>
              <a:rPr lang="zh-CN" altLang="en-US" dirty="0">
                <a:solidFill>
                  <a:srgbClr val="333333"/>
                </a:solidFill>
                <a:latin typeface="Helvetica" panose="020B0604020202020204" pitchFamily="34" charset="0"/>
              </a:rPr>
              <a:t>区间</a:t>
            </a:r>
            <a:endParaRPr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872727" y="797668"/>
            <a:ext cx="10823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 smtClean="0"/>
              <a:t>数据标准化</a:t>
            </a:r>
            <a:endParaRPr lang="zh-CN" altLang="en-US" b="1" dirty="0"/>
          </a:p>
        </p:txBody>
      </p:sp>
      <p:sp>
        <p:nvSpPr>
          <p:cNvPr id="7" name="矩形 6"/>
          <p:cNvSpPr/>
          <p:nvPr/>
        </p:nvSpPr>
        <p:spPr>
          <a:xfrm>
            <a:off x="872727" y="2737798"/>
            <a:ext cx="749029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smtClean="0">
                <a:latin typeface="Helvetica" panose="020B0604020202020204" pitchFamily="34" charset="0"/>
              </a:rPr>
              <a:t>2</a:t>
            </a:r>
            <a:r>
              <a:rPr lang="zh-CN" altLang="en-US" dirty="0" smtClean="0">
                <a:latin typeface="Helvetica" panose="020B0604020202020204" pitchFamily="34" charset="0"/>
              </a:rPr>
              <a:t>、</a:t>
            </a:r>
            <a:r>
              <a:rPr lang="en-US" altLang="zh-CN" dirty="0" smtClean="0">
                <a:latin typeface="Helvetica" panose="020B0604020202020204" pitchFamily="34" charset="0"/>
              </a:rPr>
              <a:t>z-score</a:t>
            </a:r>
            <a:r>
              <a:rPr lang="zh-CN" altLang="en-US" dirty="0" smtClean="0">
                <a:latin typeface="Helvetica" panose="020B0604020202020204" pitchFamily="34" charset="0"/>
              </a:rPr>
              <a:t>标准化，适用于变量的</a:t>
            </a:r>
            <a:r>
              <a:rPr lang="zh-CN" altLang="en-US" dirty="0">
                <a:latin typeface="Helvetica" panose="020B0604020202020204" pitchFamily="34" charset="0"/>
              </a:rPr>
              <a:t>最大值和最小值未知的情况，或有超出取值范围的离群数据的情况</a:t>
            </a:r>
            <a:endParaRPr lang="zh-CN" altLang="en-US" dirty="0"/>
          </a:p>
        </p:txBody>
      </p:sp>
      <p:sp>
        <p:nvSpPr>
          <p:cNvPr id="8" name="文本框 7"/>
          <p:cNvSpPr txBox="1"/>
          <p:nvPr/>
        </p:nvSpPr>
        <p:spPr>
          <a:xfrm>
            <a:off x="2772383" y="2091088"/>
            <a:ext cx="25042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Y=</a:t>
            </a:r>
            <a:r>
              <a:rPr lang="zh-CN" altLang="en-US" dirty="0" smtClean="0"/>
              <a:t>（</a:t>
            </a:r>
            <a:r>
              <a:rPr lang="en-US" altLang="zh-CN" dirty="0" smtClean="0"/>
              <a:t>X-min</a:t>
            </a:r>
            <a:r>
              <a:rPr lang="zh-CN" altLang="en-US" dirty="0" smtClean="0"/>
              <a:t>）</a:t>
            </a:r>
            <a:r>
              <a:rPr lang="en-US" altLang="zh-CN" dirty="0" smtClean="0"/>
              <a:t>/</a:t>
            </a:r>
            <a:r>
              <a:rPr lang="zh-CN" altLang="en-US" dirty="0" smtClean="0"/>
              <a:t>（</a:t>
            </a:r>
            <a:r>
              <a:rPr lang="en-US" altLang="zh-CN" dirty="0" smtClean="0"/>
              <a:t>max-min</a:t>
            </a:r>
            <a:r>
              <a:rPr lang="zh-CN" altLang="en-US" dirty="0" smtClean="0"/>
              <a:t>）</a:t>
            </a:r>
            <a:endParaRPr lang="zh-CN" altLang="en-US" dirty="0"/>
          </a:p>
        </p:txBody>
      </p:sp>
      <p:sp>
        <p:nvSpPr>
          <p:cNvPr id="10" name="文本框 9"/>
          <p:cNvSpPr txBox="1"/>
          <p:nvPr/>
        </p:nvSpPr>
        <p:spPr>
          <a:xfrm>
            <a:off x="2772383" y="3517811"/>
            <a:ext cx="18620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Y=</a:t>
            </a:r>
            <a:r>
              <a:rPr lang="zh-CN" altLang="en-US" dirty="0" smtClean="0"/>
              <a:t>（</a:t>
            </a:r>
            <a:r>
              <a:rPr lang="en-US" altLang="zh-CN" dirty="0" smtClean="0"/>
              <a:t>X-E(X)</a:t>
            </a:r>
            <a:r>
              <a:rPr lang="zh-CN" altLang="en-US" dirty="0" smtClean="0"/>
              <a:t>）</a:t>
            </a:r>
            <a:r>
              <a:rPr lang="en-US" altLang="zh-CN" dirty="0" smtClean="0"/>
              <a:t>/</a:t>
            </a:r>
            <a:r>
              <a:rPr lang="en-US" altLang="zh-CN" dirty="0" err="1" smtClean="0"/>
              <a:t>sd</a:t>
            </a:r>
            <a:r>
              <a:rPr lang="en-US" altLang="zh-CN" dirty="0" smtClean="0"/>
              <a:t>(x)</a:t>
            </a:r>
            <a:endParaRPr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872727" y="3985051"/>
            <a:ext cx="710395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/>
              <a:t>标准化后的变量值围绕</a:t>
            </a:r>
            <a:r>
              <a:rPr lang="en-US" altLang="zh-CN" dirty="0"/>
              <a:t>0</a:t>
            </a:r>
            <a:r>
              <a:rPr lang="zh-CN" altLang="en-US" dirty="0"/>
              <a:t>上下波动，大于</a:t>
            </a:r>
            <a:r>
              <a:rPr lang="en-US" altLang="zh-CN" dirty="0"/>
              <a:t>0</a:t>
            </a:r>
            <a:r>
              <a:rPr lang="zh-CN" altLang="en-US" dirty="0"/>
              <a:t>说明高于平均水平，小于</a:t>
            </a:r>
            <a:r>
              <a:rPr lang="en-US" altLang="zh-CN" dirty="0"/>
              <a:t>0</a:t>
            </a:r>
            <a:r>
              <a:rPr lang="zh-CN" altLang="en-US" dirty="0"/>
              <a:t>说明低于平均水平</a:t>
            </a:r>
          </a:p>
        </p:txBody>
      </p:sp>
    </p:spTree>
    <p:extLst>
      <p:ext uri="{BB962C8B-B14F-4D97-AF65-F5344CB8AC3E}">
        <p14:creationId xmlns:p14="http://schemas.microsoft.com/office/powerpoint/2010/main" val="728140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161254" y="163032"/>
            <a:ext cx="1311093" cy="369332"/>
            <a:chOff x="161254" y="163032"/>
            <a:chExt cx="1311093" cy="369332"/>
          </a:xfrm>
        </p:grpSpPr>
        <p:sp>
          <p:nvSpPr>
            <p:cNvPr id="3" name="文本框 2"/>
            <p:cNvSpPr txBox="1"/>
            <p:nvPr/>
          </p:nvSpPr>
          <p:spPr>
            <a:xfrm>
              <a:off x="364351" y="163032"/>
              <a:ext cx="11079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800" b="1" dirty="0" smtClean="0">
                  <a:solidFill>
                    <a:schemeClr val="accent5">
                      <a:lumMod val="75000"/>
                    </a:schemeClr>
                  </a:solidFill>
                  <a:latin typeface="+mj-ea"/>
                  <a:ea typeface="+mj-ea"/>
                </a:rPr>
                <a:t>数据建模</a:t>
              </a:r>
              <a:endParaRPr lang="zh-CN" altLang="en-US" sz="1800" b="1" dirty="0">
                <a:solidFill>
                  <a:schemeClr val="accent5">
                    <a:lumMod val="75000"/>
                  </a:schemeClr>
                </a:solidFill>
                <a:latin typeface="+mj-ea"/>
                <a:ea typeface="+mj-ea"/>
              </a:endParaRPr>
            </a:p>
          </p:txBody>
        </p:sp>
        <p:sp>
          <p:nvSpPr>
            <p:cNvPr id="4" name="等腰三角形 3"/>
            <p:cNvSpPr/>
            <p:nvPr/>
          </p:nvSpPr>
          <p:spPr>
            <a:xfrm rot="5400000">
              <a:off x="140694" y="246149"/>
              <a:ext cx="244217" cy="203097"/>
            </a:xfrm>
            <a:prstGeom prst="triangle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5" name="文本框 4"/>
          <p:cNvSpPr txBox="1"/>
          <p:nvPr/>
        </p:nvSpPr>
        <p:spPr>
          <a:xfrm>
            <a:off x="1099226" y="972766"/>
            <a:ext cx="14491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算法：</a:t>
            </a:r>
            <a:r>
              <a:rPr lang="en-US" altLang="zh-CN" dirty="0" smtClean="0"/>
              <a:t>k-means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445" y="1560790"/>
            <a:ext cx="4548407" cy="1343268"/>
          </a:xfrm>
          <a:prstGeom prst="rect">
            <a:avLst/>
          </a:prstGeom>
        </p:spPr>
      </p:pic>
      <p:graphicFrame>
        <p:nvGraphicFramePr>
          <p:cNvPr id="8" name="图表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94158463"/>
              </p:ext>
            </p:extLst>
          </p:nvPr>
        </p:nvGraphicFramePr>
        <p:xfrm>
          <a:off x="4572000" y="1192994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2445" y="3184305"/>
            <a:ext cx="4548407" cy="1429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411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1206229" y="1067386"/>
            <a:ext cx="6789906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b="1" dirty="0">
                <a:solidFill>
                  <a:srgbClr val="000000"/>
                </a:solidFill>
                <a:latin typeface="Helvetica" panose="020B0604020202020204" pitchFamily="34" charset="0"/>
              </a:rPr>
              <a:t>轮廓系数</a:t>
            </a:r>
            <a:r>
              <a:rPr lang="zh-CN" altLang="en-US" sz="1200" b="1" dirty="0" smtClean="0">
                <a:solidFill>
                  <a:srgbClr val="000000"/>
                </a:solidFill>
                <a:latin typeface="Helvetica" panose="020B0604020202020204" pitchFamily="34" charset="0"/>
              </a:rPr>
              <a:t>：</a:t>
            </a:r>
            <a:endParaRPr lang="zh-CN" altLang="en-US" sz="1200" dirty="0">
              <a:solidFill>
                <a:srgbClr val="000000"/>
              </a:solidFill>
              <a:latin typeface="Helvetica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轮廓系数（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Silhouette Coefficient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）结合了聚类的凝聚度（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Cohesion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）和分离度（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Separation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），用于评估聚类的效果。该值处于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-1~1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之间，值越大，表示聚类效果越好。具体计算方法如下：</a:t>
            </a:r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对于每个样本点</a:t>
            </a:r>
            <a:r>
              <a:rPr lang="en-US" altLang="zh-CN" sz="1200" dirty="0" err="1">
                <a:solidFill>
                  <a:srgbClr val="000000"/>
                </a:solidFill>
                <a:latin typeface="Helvetica" panose="020B0604020202020204" pitchFamily="34" charset="0"/>
              </a:rPr>
              <a:t>i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，计算点</a:t>
            </a:r>
            <a:r>
              <a:rPr lang="en-US" altLang="zh-CN" sz="1200" dirty="0" err="1">
                <a:solidFill>
                  <a:srgbClr val="000000"/>
                </a:solidFill>
                <a:latin typeface="Helvetica" panose="020B0604020202020204" pitchFamily="34" charset="0"/>
              </a:rPr>
              <a:t>i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与其同一个簇内的所有其他元素距离的平均值，记作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a(</a:t>
            </a:r>
            <a:r>
              <a:rPr lang="en-US" altLang="zh-CN" sz="1200" dirty="0" err="1">
                <a:solidFill>
                  <a:srgbClr val="000000"/>
                </a:solidFill>
                <a:latin typeface="Helvetica" panose="020B0604020202020204" pitchFamily="34" charset="0"/>
              </a:rPr>
              <a:t>i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)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，用于量化簇内的凝聚度。</a:t>
            </a:r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选取</a:t>
            </a:r>
            <a:r>
              <a:rPr lang="en-US" altLang="zh-CN" sz="1200" dirty="0" err="1">
                <a:solidFill>
                  <a:srgbClr val="000000"/>
                </a:solidFill>
                <a:latin typeface="Helvetica" panose="020B0604020202020204" pitchFamily="34" charset="0"/>
              </a:rPr>
              <a:t>i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外的一个簇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b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，计算</a:t>
            </a:r>
            <a:r>
              <a:rPr lang="en-US" altLang="zh-CN" sz="1200" dirty="0" err="1">
                <a:solidFill>
                  <a:srgbClr val="000000"/>
                </a:solidFill>
                <a:latin typeface="Helvetica" panose="020B0604020202020204" pitchFamily="34" charset="0"/>
              </a:rPr>
              <a:t>i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与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b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中所有点的平均距离，遍历所有其他簇，找到最近的这个平均距离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,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记作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b(</a:t>
            </a:r>
            <a:r>
              <a:rPr lang="en-US" altLang="zh-CN" sz="1200" dirty="0" err="1">
                <a:solidFill>
                  <a:srgbClr val="000000"/>
                </a:solidFill>
                <a:latin typeface="Helvetica" panose="020B0604020202020204" pitchFamily="34" charset="0"/>
              </a:rPr>
              <a:t>i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)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，即为</a:t>
            </a:r>
            <a:r>
              <a:rPr lang="en-US" altLang="zh-CN" sz="1200" dirty="0" err="1">
                <a:solidFill>
                  <a:srgbClr val="000000"/>
                </a:solidFill>
                <a:latin typeface="Helvetica" panose="020B0604020202020204" pitchFamily="34" charset="0"/>
              </a:rPr>
              <a:t>i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的邻居类，用于量化簇之间分离度。</a:t>
            </a:r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对于样本点</a:t>
            </a:r>
            <a:r>
              <a:rPr lang="en-US" altLang="zh-CN" sz="1200" dirty="0" err="1">
                <a:solidFill>
                  <a:srgbClr val="000000"/>
                </a:solidFill>
                <a:latin typeface="Helvetica" panose="020B0604020202020204" pitchFamily="34" charset="0"/>
              </a:rPr>
              <a:t>i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，轮廓系数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s(</a:t>
            </a:r>
            <a:r>
              <a:rPr lang="en-US" altLang="zh-CN" sz="1200" dirty="0" err="1">
                <a:solidFill>
                  <a:srgbClr val="000000"/>
                </a:solidFill>
                <a:latin typeface="Helvetica" panose="020B0604020202020204" pitchFamily="34" charset="0"/>
              </a:rPr>
              <a:t>i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) = (b(</a:t>
            </a:r>
            <a:r>
              <a:rPr lang="en-US" altLang="zh-CN" sz="1200" dirty="0" err="1">
                <a:solidFill>
                  <a:srgbClr val="000000"/>
                </a:solidFill>
                <a:latin typeface="Helvetica" panose="020B0604020202020204" pitchFamily="34" charset="0"/>
              </a:rPr>
              <a:t>i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) – a(</a:t>
            </a:r>
            <a:r>
              <a:rPr lang="en-US" altLang="zh-CN" sz="1200" dirty="0" err="1">
                <a:solidFill>
                  <a:srgbClr val="000000"/>
                </a:solidFill>
                <a:latin typeface="Helvetica" panose="020B0604020202020204" pitchFamily="34" charset="0"/>
              </a:rPr>
              <a:t>i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))/max{a(</a:t>
            </a:r>
            <a:r>
              <a:rPr lang="en-US" altLang="zh-CN" sz="1200" dirty="0" err="1">
                <a:solidFill>
                  <a:srgbClr val="000000"/>
                </a:solidFill>
                <a:latin typeface="Helvetica" panose="020B0604020202020204" pitchFamily="34" charset="0"/>
              </a:rPr>
              <a:t>i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),b(</a:t>
            </a:r>
            <a:r>
              <a:rPr lang="en-US" altLang="zh-CN" sz="1200" dirty="0" err="1">
                <a:solidFill>
                  <a:srgbClr val="000000"/>
                </a:solidFill>
                <a:latin typeface="Helvetica" panose="020B0604020202020204" pitchFamily="34" charset="0"/>
              </a:rPr>
              <a:t>i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)}</a:t>
            </a:r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计算所有</a:t>
            </a:r>
            <a:r>
              <a:rPr lang="en-US" altLang="zh-CN" sz="1200" dirty="0" err="1">
                <a:solidFill>
                  <a:srgbClr val="000000"/>
                </a:solidFill>
                <a:latin typeface="Helvetica" panose="020B0604020202020204" pitchFamily="34" charset="0"/>
              </a:rPr>
              <a:t>i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的轮廓系数，求出平均值即为当前聚类的整体轮廓系数，度量数据聚类的紧密程度</a:t>
            </a: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从上面的公式，不难发现若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s(</a:t>
            </a:r>
            <a:r>
              <a:rPr lang="en-US" altLang="zh-CN" sz="1200" dirty="0" err="1">
                <a:solidFill>
                  <a:srgbClr val="000000"/>
                </a:solidFill>
                <a:latin typeface="Helvetica" panose="020B0604020202020204" pitchFamily="34" charset="0"/>
              </a:rPr>
              <a:t>i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)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小于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0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，说明</a:t>
            </a:r>
            <a:r>
              <a:rPr lang="en-US" altLang="zh-CN" sz="1200" dirty="0" err="1">
                <a:solidFill>
                  <a:srgbClr val="000000"/>
                </a:solidFill>
                <a:latin typeface="Helvetica" panose="020B0604020202020204" pitchFamily="34" charset="0"/>
              </a:rPr>
              <a:t>i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与其簇内元素的平均距离小于最近的其他簇，表示聚类效果不好。如果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a(</a:t>
            </a:r>
            <a:r>
              <a:rPr lang="en-US" altLang="zh-CN" sz="1200" dirty="0" err="1">
                <a:solidFill>
                  <a:srgbClr val="000000"/>
                </a:solidFill>
                <a:latin typeface="Helvetica" panose="020B0604020202020204" pitchFamily="34" charset="0"/>
              </a:rPr>
              <a:t>i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)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趋于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0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，或者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b(</a:t>
            </a:r>
            <a:r>
              <a:rPr lang="en-US" altLang="zh-CN" sz="1200" dirty="0" err="1">
                <a:solidFill>
                  <a:srgbClr val="000000"/>
                </a:solidFill>
                <a:latin typeface="Helvetica" panose="020B0604020202020204" pitchFamily="34" charset="0"/>
              </a:rPr>
              <a:t>i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)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足够大，即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a(</a:t>
            </a:r>
            <a:r>
              <a:rPr lang="en-US" altLang="zh-CN" sz="1200" dirty="0" err="1">
                <a:solidFill>
                  <a:srgbClr val="000000"/>
                </a:solidFill>
                <a:latin typeface="Helvetica" panose="020B0604020202020204" pitchFamily="34" charset="0"/>
              </a:rPr>
              <a:t>i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)&lt;&lt;b(</a:t>
            </a:r>
            <a:r>
              <a:rPr lang="en-US" altLang="zh-CN" sz="1200" dirty="0" err="1">
                <a:solidFill>
                  <a:srgbClr val="000000"/>
                </a:solidFill>
                <a:latin typeface="Helvetica" panose="020B0604020202020204" pitchFamily="34" charset="0"/>
              </a:rPr>
              <a:t>i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)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，那么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s(</a:t>
            </a:r>
            <a:r>
              <a:rPr lang="en-US" altLang="zh-CN" sz="1200" dirty="0" err="1">
                <a:solidFill>
                  <a:srgbClr val="000000"/>
                </a:solidFill>
                <a:latin typeface="Helvetica" panose="020B0604020202020204" pitchFamily="34" charset="0"/>
              </a:rPr>
              <a:t>i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)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趋近与</a:t>
            </a:r>
            <a:r>
              <a:rPr lang="en-US" altLang="zh-CN" sz="1200" dirty="0">
                <a:solidFill>
                  <a:srgbClr val="000000"/>
                </a:solidFill>
                <a:latin typeface="Helvetica" panose="020B0604020202020204" pitchFamily="34" charset="0"/>
              </a:rPr>
              <a:t>1</a:t>
            </a:r>
            <a:r>
              <a:rPr lang="zh-CN" altLang="en-US" sz="1200" dirty="0">
                <a:solidFill>
                  <a:srgbClr val="000000"/>
                </a:solidFill>
                <a:latin typeface="Helvetica" panose="020B0604020202020204" pitchFamily="34" charset="0"/>
              </a:rPr>
              <a:t>，说明聚类效果比较好。</a:t>
            </a:r>
            <a:endParaRPr lang="zh-CN" altLang="en-US" sz="1200" b="0" i="0" dirty="0">
              <a:solidFill>
                <a:srgbClr val="000000"/>
              </a:solidFill>
              <a:effectLst/>
              <a:latin typeface="Helvetica" panose="020B0604020202020204" pitchFamily="34" charset="0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161254" y="163032"/>
            <a:ext cx="1311093" cy="369332"/>
            <a:chOff x="161254" y="163032"/>
            <a:chExt cx="1311093" cy="369332"/>
          </a:xfrm>
        </p:grpSpPr>
        <p:sp>
          <p:nvSpPr>
            <p:cNvPr id="4" name="文本框 3"/>
            <p:cNvSpPr txBox="1"/>
            <p:nvPr/>
          </p:nvSpPr>
          <p:spPr>
            <a:xfrm>
              <a:off x="364351" y="163032"/>
              <a:ext cx="11079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800" b="1" dirty="0" smtClean="0">
                  <a:solidFill>
                    <a:schemeClr val="accent5">
                      <a:lumMod val="75000"/>
                    </a:schemeClr>
                  </a:solidFill>
                  <a:latin typeface="+mj-ea"/>
                  <a:ea typeface="+mj-ea"/>
                </a:rPr>
                <a:t>模型效果</a:t>
              </a:r>
              <a:endParaRPr lang="zh-CN" altLang="en-US" sz="1800" b="1" dirty="0">
                <a:solidFill>
                  <a:schemeClr val="accent5">
                    <a:lumMod val="75000"/>
                  </a:schemeClr>
                </a:solidFill>
                <a:latin typeface="+mj-ea"/>
                <a:ea typeface="+mj-ea"/>
              </a:endParaRPr>
            </a:p>
          </p:txBody>
        </p:sp>
        <p:sp>
          <p:nvSpPr>
            <p:cNvPr id="5" name="等腰三角形 4"/>
            <p:cNvSpPr/>
            <p:nvPr/>
          </p:nvSpPr>
          <p:spPr>
            <a:xfrm rot="5400000">
              <a:off x="140694" y="246149"/>
              <a:ext cx="244217" cy="203097"/>
            </a:xfrm>
            <a:prstGeom prst="triangle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865476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图示 2"/>
          <p:cNvGraphicFramePr/>
          <p:nvPr>
            <p:extLst>
              <p:ext uri="{D42A27DB-BD31-4B8C-83A1-F6EECF244321}">
                <p14:modId xmlns:p14="http://schemas.microsoft.com/office/powerpoint/2010/main" val="1497927036"/>
              </p:ext>
            </p:extLst>
          </p:nvPr>
        </p:nvGraphicFramePr>
        <p:xfrm>
          <a:off x="2101174" y="1001948"/>
          <a:ext cx="4182895" cy="38424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4" name="组合 3"/>
          <p:cNvGrpSpPr/>
          <p:nvPr/>
        </p:nvGrpSpPr>
        <p:grpSpPr>
          <a:xfrm>
            <a:off x="161254" y="163032"/>
            <a:ext cx="2104580" cy="369332"/>
            <a:chOff x="161254" y="163032"/>
            <a:chExt cx="2104580" cy="369332"/>
          </a:xfrm>
        </p:grpSpPr>
        <p:sp>
          <p:nvSpPr>
            <p:cNvPr id="5" name="文本框 4"/>
            <p:cNvSpPr txBox="1"/>
            <p:nvPr/>
          </p:nvSpPr>
          <p:spPr>
            <a:xfrm>
              <a:off x="364351" y="163032"/>
              <a:ext cx="190148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800" b="1" dirty="0" smtClean="0">
                  <a:solidFill>
                    <a:schemeClr val="accent5">
                      <a:lumMod val="75000"/>
                    </a:schemeClr>
                  </a:solidFill>
                  <a:latin typeface="+mj-ea"/>
                  <a:ea typeface="+mj-ea"/>
                </a:rPr>
                <a:t>附</a:t>
              </a:r>
              <a:r>
                <a:rPr lang="en-US" altLang="zh-CN" sz="1800" b="1" dirty="0" smtClean="0">
                  <a:solidFill>
                    <a:schemeClr val="accent5">
                      <a:lumMod val="75000"/>
                    </a:schemeClr>
                  </a:solidFill>
                  <a:latin typeface="+mj-ea"/>
                  <a:ea typeface="+mj-ea"/>
                </a:rPr>
                <a:t>-</a:t>
              </a:r>
              <a:r>
                <a:rPr lang="zh-CN" altLang="en-US" sz="1800" b="1" dirty="0" smtClean="0">
                  <a:solidFill>
                    <a:schemeClr val="accent5">
                      <a:lumMod val="75000"/>
                    </a:schemeClr>
                  </a:solidFill>
                  <a:latin typeface="+mj-ea"/>
                  <a:ea typeface="+mj-ea"/>
                </a:rPr>
                <a:t>数据挖掘流程</a:t>
              </a:r>
              <a:endParaRPr lang="zh-CN" altLang="en-US" sz="1800" b="1" dirty="0">
                <a:solidFill>
                  <a:schemeClr val="accent5">
                    <a:lumMod val="75000"/>
                  </a:schemeClr>
                </a:solidFill>
                <a:latin typeface="+mj-ea"/>
                <a:ea typeface="+mj-ea"/>
              </a:endParaRPr>
            </a:p>
          </p:txBody>
        </p:sp>
        <p:sp>
          <p:nvSpPr>
            <p:cNvPr id="7" name="等腰三角形 6"/>
            <p:cNvSpPr/>
            <p:nvPr/>
          </p:nvSpPr>
          <p:spPr>
            <a:xfrm rot="5400000">
              <a:off x="140694" y="246149"/>
              <a:ext cx="244217" cy="203097"/>
            </a:xfrm>
            <a:prstGeom prst="triangle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276263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对象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87" y="17716"/>
          <a:ext cx="1186" cy="11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87" y="17716"/>
                        <a:ext cx="1186" cy="11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52152" y="126978"/>
            <a:ext cx="6408712" cy="248338"/>
          </a:xfrm>
        </p:spPr>
        <p:txBody>
          <a:bodyPr/>
          <a:lstStyle/>
          <a:p>
            <a:r>
              <a:rPr lang="en-US" altLang="zh-CN" dirty="0" smtClean="0"/>
              <a:t>RFM</a:t>
            </a:r>
            <a:r>
              <a:rPr lang="zh-CN" altLang="en-US" dirty="0" smtClean="0"/>
              <a:t>模型简介</a:t>
            </a:r>
            <a:endParaRPr lang="zh-CN" altLang="en-US" dirty="0"/>
          </a:p>
        </p:txBody>
      </p:sp>
      <p:sp>
        <p:nvSpPr>
          <p:cNvPr id="20" name="标题 1"/>
          <p:cNvSpPr txBox="1">
            <a:spLocks/>
          </p:cNvSpPr>
          <p:nvPr/>
        </p:nvSpPr>
        <p:spPr bwMode="auto">
          <a:xfrm>
            <a:off x="46641" y="107861"/>
            <a:ext cx="694852" cy="274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669027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52374" algn="l"/>
              </a:tabLst>
              <a:defRPr sz="2400" b="1" baseline="0">
                <a:solidFill>
                  <a:schemeClr val="accent3">
                    <a:lumMod val="50000"/>
                  </a:schemeClr>
                </a:solidFill>
                <a:latin typeface="+mj-lt"/>
                <a:ea typeface="微软雅黑" panose="020B0503020204020204" pitchFamily="34" charset="-122"/>
                <a:cs typeface="+mj-cs"/>
              </a:defRPr>
            </a:lvl1pPr>
            <a:lvl2pPr algn="l" defTabSz="669027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52374" algn="l"/>
              </a:tabLst>
              <a:defRPr sz="14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2pPr>
            <a:lvl3pPr algn="l" defTabSz="669027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52374" algn="l"/>
              </a:tabLst>
              <a:defRPr sz="14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3pPr>
            <a:lvl4pPr algn="l" defTabSz="669027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52374" algn="l"/>
              </a:tabLst>
              <a:defRPr sz="14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4pPr>
            <a:lvl5pPr algn="l" defTabSz="669027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52374" algn="l"/>
              </a:tabLst>
              <a:defRPr sz="14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5pPr>
            <a:lvl6pPr marL="342185" algn="l" defTabSz="670128" rtl="0" fontAlgn="base">
              <a:spcBef>
                <a:spcPct val="0"/>
              </a:spcBef>
              <a:spcAft>
                <a:spcPct val="0"/>
              </a:spcAft>
              <a:tabLst>
                <a:tab pos="253081" algn="l"/>
              </a:tabLst>
              <a:defRPr sz="21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6pPr>
            <a:lvl7pPr marL="684387" algn="l" defTabSz="670128" rtl="0" fontAlgn="base">
              <a:spcBef>
                <a:spcPct val="0"/>
              </a:spcBef>
              <a:spcAft>
                <a:spcPct val="0"/>
              </a:spcAft>
              <a:tabLst>
                <a:tab pos="253081" algn="l"/>
              </a:tabLst>
              <a:defRPr sz="21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7pPr>
            <a:lvl8pPr marL="1026581" algn="l" defTabSz="670128" rtl="0" fontAlgn="base">
              <a:spcBef>
                <a:spcPct val="0"/>
              </a:spcBef>
              <a:spcAft>
                <a:spcPct val="0"/>
              </a:spcAft>
              <a:tabLst>
                <a:tab pos="253081" algn="l"/>
              </a:tabLst>
              <a:defRPr sz="21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8pPr>
            <a:lvl9pPr marL="1368772" algn="l" defTabSz="670128" rtl="0" fontAlgn="base">
              <a:spcBef>
                <a:spcPct val="0"/>
              </a:spcBef>
              <a:spcAft>
                <a:spcPct val="0"/>
              </a:spcAft>
              <a:tabLst>
                <a:tab pos="253081" algn="l"/>
              </a:tabLst>
              <a:defRPr sz="2100" b="1">
                <a:solidFill>
                  <a:schemeClr val="tx2"/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9pPr>
          </a:lstStyle>
          <a:p>
            <a:pPr algn="ctr"/>
            <a:r>
              <a:rPr lang="en-US" altLang="zh-CN" sz="2078" kern="0" dirty="0">
                <a:solidFill>
                  <a:srgbClr val="FFFFFF"/>
                </a:solidFill>
                <a:latin typeface="微软雅黑" panose="020B0503020204020204" pitchFamily="34" charset="-122"/>
              </a:rPr>
              <a:t>1.1</a:t>
            </a:r>
            <a:endParaRPr lang="zh-CN" altLang="en-US" sz="2078" kern="0" dirty="0">
              <a:solidFill>
                <a:srgbClr val="FFFFFF"/>
              </a:solidFill>
              <a:latin typeface="微软雅黑" panose="020B0503020204020204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 bwMode="auto">
          <a:xfrm>
            <a:off x="394067" y="904078"/>
            <a:ext cx="1452488" cy="206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marL="213484" indent="-213484">
              <a:buFont typeface="Wingdings" panose="05000000000000000000" pitchFamily="2" charset="2"/>
              <a:buChar char="u"/>
            </a:pPr>
            <a:r>
              <a:rPr lang="zh-CN" altLang="en-US" sz="1345" b="1" dirty="0">
                <a:solidFill>
                  <a:schemeClr val="accent3">
                    <a:lumMod val="75000"/>
                  </a:schemeClr>
                </a:solidFill>
                <a:latin typeface="+mn-ea"/>
              </a:rPr>
              <a:t>应用场景</a:t>
            </a:r>
          </a:p>
        </p:txBody>
      </p:sp>
      <p:sp>
        <p:nvSpPr>
          <p:cNvPr id="4" name="圆角矩形 3"/>
          <p:cNvSpPr/>
          <p:nvPr/>
        </p:nvSpPr>
        <p:spPr bwMode="auto">
          <a:xfrm>
            <a:off x="394066" y="933743"/>
            <a:ext cx="6293188" cy="1398692"/>
          </a:xfrm>
          <a:prstGeom prst="roundRect">
            <a:avLst/>
          </a:prstGeom>
          <a:noFill/>
          <a:ln w="19050" algn="ctr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defTabSz="668916">
              <a:lnSpc>
                <a:spcPct val="200000"/>
              </a:lnSpc>
              <a:buSzPct val="120000"/>
            </a:pPr>
            <a:r>
              <a:rPr lang="en-US" altLang="zh-CN" sz="1195" b="1" dirty="0">
                <a:latin typeface="+mn-ea"/>
              </a:rPr>
              <a:t>RFM</a:t>
            </a:r>
            <a:r>
              <a:rPr lang="zh-CN" altLang="zh-CN" sz="1195" b="1" dirty="0">
                <a:latin typeface="+mn-ea"/>
              </a:rPr>
              <a:t>模型以用户的实际购买行为数据作为基础，进行</a:t>
            </a:r>
            <a:r>
              <a:rPr lang="zh-CN" altLang="zh-CN" sz="1195" b="1" dirty="0">
                <a:solidFill>
                  <a:srgbClr val="FF0000"/>
                </a:solidFill>
                <a:latin typeface="+mn-ea"/>
              </a:rPr>
              <a:t>用户群体的划分</a:t>
            </a:r>
            <a:r>
              <a:rPr lang="zh-CN" altLang="zh-CN" sz="1195" b="1" dirty="0">
                <a:latin typeface="+mn-ea"/>
              </a:rPr>
              <a:t>，</a:t>
            </a:r>
            <a:r>
              <a:rPr lang="zh-CN" altLang="zh-CN" sz="1195" b="1" dirty="0">
                <a:solidFill>
                  <a:srgbClr val="FF0000"/>
                </a:solidFill>
                <a:latin typeface="+mn-ea"/>
              </a:rPr>
              <a:t>识别优质客户</a:t>
            </a:r>
            <a:r>
              <a:rPr lang="zh-CN" altLang="zh-CN" sz="1195" b="1" dirty="0">
                <a:latin typeface="+mn-ea"/>
              </a:rPr>
              <a:t>，以便业务在短信推送，营销，转化过程中获得更大的收益</a:t>
            </a:r>
            <a:endParaRPr lang="zh-CN" altLang="en-US" sz="1195" b="1" dirty="0">
              <a:latin typeface="+mn-ea"/>
            </a:endParaRPr>
          </a:p>
        </p:txBody>
      </p:sp>
      <p:sp>
        <p:nvSpPr>
          <p:cNvPr id="19" name="文本框 18"/>
          <p:cNvSpPr txBox="1"/>
          <p:nvPr/>
        </p:nvSpPr>
        <p:spPr bwMode="auto">
          <a:xfrm>
            <a:off x="394067" y="2464158"/>
            <a:ext cx="1452488" cy="206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marL="213484" indent="-213484">
              <a:buFont typeface="Wingdings" panose="05000000000000000000" pitchFamily="2" charset="2"/>
              <a:buChar char="u"/>
            </a:pPr>
            <a:r>
              <a:rPr lang="zh-CN" altLang="en-US" sz="1345" b="1" dirty="0">
                <a:solidFill>
                  <a:schemeClr val="accent3">
                    <a:lumMod val="75000"/>
                  </a:schemeClr>
                </a:solidFill>
                <a:latin typeface="+mn-ea"/>
              </a:rPr>
              <a:t>原理</a:t>
            </a:r>
            <a:endParaRPr lang="zh-CN" altLang="en-US" sz="1345" b="1" dirty="0">
              <a:solidFill>
                <a:schemeClr val="accent3">
                  <a:lumMod val="75000"/>
                </a:schemeClr>
              </a:solidFill>
              <a:latin typeface="+mn-ea"/>
            </a:endParaRP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72" y="2671099"/>
            <a:ext cx="4605240" cy="2213873"/>
          </a:xfrm>
          <a:prstGeom prst="rect">
            <a:avLst/>
          </a:prstGeom>
        </p:spPr>
      </p:pic>
      <p:pic>
        <p:nvPicPr>
          <p:cNvPr id="26" name="图片 25" descr="C:\Users\XIAYUX~1\AppData\Local\Temp\1528339680(1).png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7551" y="2671100"/>
            <a:ext cx="2259426" cy="20798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63721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h0BwAOQg2GmBph1k0E0w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45</TotalTime>
  <Words>678</Words>
  <Application>Microsoft Office PowerPoint</Application>
  <PresentationFormat>全屏显示(16:9)</PresentationFormat>
  <Paragraphs>75</Paragraphs>
  <Slides>10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8" baseType="lpstr">
      <vt:lpstr>宋体</vt:lpstr>
      <vt:lpstr>微软雅黑</vt:lpstr>
      <vt:lpstr>Arial</vt:lpstr>
      <vt:lpstr>Calibri</vt:lpstr>
      <vt:lpstr>Helvetica</vt:lpstr>
      <vt:lpstr>Wingdings</vt:lpstr>
      <vt:lpstr>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RFM模型简介</vt:lpstr>
      <vt:lpstr>案例</vt:lpstr>
    </vt:vector>
  </TitlesOfParts>
  <Company>第一PP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毕业答辩</dc:title>
  <dc:creator>第一PPT</dc:creator>
  <cp:keywords>www.1ppt.com</cp:keywords>
  <dc:description>www.1ppt.com</dc:description>
  <cp:lastModifiedBy>张宫卿</cp:lastModifiedBy>
  <cp:revision>85</cp:revision>
  <dcterms:created xsi:type="dcterms:W3CDTF">2016-05-20T12:59:00Z</dcterms:created>
  <dcterms:modified xsi:type="dcterms:W3CDTF">2018-06-08T06:09:35Z</dcterms:modified>
  <cp:contentStatus>ytfcells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5745</vt:lpwstr>
  </property>
</Properties>
</file>